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  <p:sldMasterId id="2147483698" r:id="rId5"/>
  </p:sldMasterIdLst>
  <p:notesMasterIdLst>
    <p:notesMasterId r:id="rId11"/>
  </p:notesMasterIdLst>
  <p:handoutMasterIdLst>
    <p:handoutMasterId r:id="rId12"/>
  </p:handoutMasterIdLst>
  <p:sldIdLst>
    <p:sldId id="354" r:id="rId6"/>
    <p:sldId id="351" r:id="rId7"/>
    <p:sldId id="359" r:id="rId8"/>
    <p:sldId id="353" r:id="rId9"/>
    <p:sldId id="358" r:id="rId10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65FDB001-C03D-47B6-B33F-D87C2F6C59F0}">
          <p14:sldIdLst/>
        </p14:section>
        <p14:section name="Oddíl bez názvu" id="{A6DFC3D3-118F-4DE6-B535-0587A20CF914}">
          <p14:sldIdLst>
            <p14:sldId id="354"/>
            <p14:sldId id="351"/>
            <p14:sldId id="359"/>
            <p14:sldId id="353"/>
            <p14:sldId id="35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Šteflová Erika, Ing." initials="ŠEI" lastIdx="0" clrIdx="0">
    <p:extLst>
      <p:ext uri="{19B8F6BF-5375-455C-9EA6-DF929625EA0E}">
        <p15:presenceInfo xmlns:p15="http://schemas.microsoft.com/office/powerpoint/2012/main" userId="S-1-5-21-3337713273-236629238-4181789115-1153" providerId="AD"/>
      </p:ext>
    </p:extLst>
  </p:cmAuthor>
  <p:cmAuthor id="2" name="Bena Marek" initials="BM" lastIdx="2" clrIdx="1">
    <p:extLst>
      <p:ext uri="{19B8F6BF-5375-455C-9EA6-DF929625EA0E}">
        <p15:presenceInfo xmlns:p15="http://schemas.microsoft.com/office/powerpoint/2012/main" userId="S-1-5-21-3337713273-236629238-4181789115-4135" providerId="AD"/>
      </p:ext>
    </p:extLst>
  </p:cmAuthor>
  <p:cmAuthor id="3" name="Zatloukal Artur, Ing." initials="ZAI" lastIdx="3" clrIdx="2">
    <p:extLst>
      <p:ext uri="{19B8F6BF-5375-455C-9EA6-DF929625EA0E}">
        <p15:presenceInfo xmlns:p15="http://schemas.microsoft.com/office/powerpoint/2012/main" userId="S-1-5-21-3337713273-236629238-4181789115-1119" providerId="AD"/>
      </p:ext>
    </p:extLst>
  </p:cmAuthor>
  <p:cmAuthor id="4" name="Kubera Jiří" initials="KJ" lastIdx="9" clrIdx="3">
    <p:extLst>
      <p:ext uri="{19B8F6BF-5375-455C-9EA6-DF929625EA0E}">
        <p15:presenceInfo xmlns:p15="http://schemas.microsoft.com/office/powerpoint/2012/main" userId="S-1-5-21-3337713273-236629238-4181789115-414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86397" autoAdjust="0"/>
  </p:normalViewPr>
  <p:slideViewPr>
    <p:cSldViewPr snapToGrid="0">
      <p:cViewPr varScale="1">
        <p:scale>
          <a:sx n="71" d="100"/>
          <a:sy n="71" d="100"/>
        </p:scale>
        <p:origin x="618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3" d="100"/>
          <a:sy n="53" d="100"/>
        </p:scale>
        <p:origin x="293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CB72E0F-85BD-4844-ABDF-E8FC9DA1534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620BB7A9-8AB5-469F-ADA3-BA781992A58B}">
      <dgm:prSet phldrT="[Text]"/>
      <dgm:spPr>
        <a:ln>
          <a:solidFill>
            <a:schemeClr val="tx1">
              <a:lumMod val="75000"/>
            </a:schemeClr>
          </a:solidFill>
        </a:ln>
      </dgm:spPr>
      <dgm:t>
        <a:bodyPr/>
        <a:lstStyle/>
        <a:p>
          <a:r>
            <a:rPr lang="cs-CZ" b="1" dirty="0" smtClean="0">
              <a:ln w="0"/>
              <a:solidFill>
                <a:schemeClr val="tx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rPr>
            <a:t>PROJEKTOVÝ MANAGEMENT </a:t>
          </a:r>
        </a:p>
        <a:p>
          <a:r>
            <a:rPr lang="cs-CZ" dirty="0" smtClean="0"/>
            <a:t>CÍL získání a proplacení dotace bez finančních korekcí za splnění podmínky  3 E</a:t>
          </a:r>
          <a:endParaRPr lang="cs-CZ" dirty="0"/>
        </a:p>
      </dgm:t>
    </dgm:pt>
    <dgm:pt modelId="{D6EFDA38-6729-4A76-90D0-D5D440DA42F7}" type="parTrans" cxnId="{552BB22E-3CB1-4626-893E-A86CF257F8A5}">
      <dgm:prSet/>
      <dgm:spPr/>
      <dgm:t>
        <a:bodyPr/>
        <a:lstStyle/>
        <a:p>
          <a:endParaRPr lang="cs-CZ"/>
        </a:p>
      </dgm:t>
    </dgm:pt>
    <dgm:pt modelId="{66C869F0-D115-4B86-95B5-7447A6C27230}" type="sibTrans" cxnId="{552BB22E-3CB1-4626-893E-A86CF257F8A5}">
      <dgm:prSet/>
      <dgm:spPr/>
      <dgm:t>
        <a:bodyPr/>
        <a:lstStyle/>
        <a:p>
          <a:endParaRPr lang="cs-CZ"/>
        </a:p>
      </dgm:t>
    </dgm:pt>
    <dgm:pt modelId="{9E3A5BC1-3EA4-4B40-9FB1-CDAEF4B66D4A}">
      <dgm:prSet phldrT="[Text]"/>
      <dgm:spPr/>
      <dgm:t>
        <a:bodyPr/>
        <a:lstStyle/>
        <a:p>
          <a:r>
            <a:rPr lang="cs-CZ" b="1" dirty="0" smtClean="0">
              <a:ln w="0"/>
              <a:solidFill>
                <a:schemeClr val="tx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rPr>
            <a:t>VZDĚLÁVÁNÍ</a:t>
          </a:r>
        </a:p>
        <a:p>
          <a:r>
            <a:rPr lang="cs-CZ" dirty="0" smtClean="0"/>
            <a:t>CÍL zvyšování úrovně kvalifikace zaměstnanců </a:t>
          </a:r>
          <a:endParaRPr lang="cs-CZ" dirty="0"/>
        </a:p>
      </dgm:t>
    </dgm:pt>
    <dgm:pt modelId="{5AD80DF7-23F3-468E-B35E-DEF2EA4C0B88}" type="parTrans" cxnId="{D73924CD-CACE-4DFE-8A0A-A957E1C65E50}">
      <dgm:prSet/>
      <dgm:spPr/>
      <dgm:t>
        <a:bodyPr/>
        <a:lstStyle/>
        <a:p>
          <a:endParaRPr lang="cs-CZ"/>
        </a:p>
      </dgm:t>
    </dgm:pt>
    <dgm:pt modelId="{9E27BA08-79F2-4C92-99DA-31AEB62B2891}" type="sibTrans" cxnId="{D73924CD-CACE-4DFE-8A0A-A957E1C65E50}">
      <dgm:prSet/>
      <dgm:spPr/>
      <dgm:t>
        <a:bodyPr/>
        <a:lstStyle/>
        <a:p>
          <a:endParaRPr lang="cs-CZ"/>
        </a:p>
      </dgm:t>
    </dgm:pt>
    <dgm:pt modelId="{26EF4BFA-46C0-4E12-9156-31D040BF45D2}">
      <dgm:prSet/>
      <dgm:spPr/>
      <dgm:t>
        <a:bodyPr/>
        <a:lstStyle/>
        <a:p>
          <a:r>
            <a:rPr lang="cs-CZ" b="1" dirty="0" smtClean="0">
              <a:ln w="0"/>
              <a:solidFill>
                <a:schemeClr val="tx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rPr>
            <a:t>VEŘEJNÉ ZAKÁZKY </a:t>
          </a:r>
        </a:p>
        <a:p>
          <a:r>
            <a:rPr lang="cs-CZ" dirty="0" smtClean="0"/>
            <a:t>CÍL řádná administrace veřejné zakázky bez finančních korekcí s cílem výběru vhodného dodavatele</a:t>
          </a:r>
        </a:p>
      </dgm:t>
    </dgm:pt>
    <dgm:pt modelId="{15B179FA-BD7B-4A30-9470-090CA4FCA603}" type="parTrans" cxnId="{D7437160-64F0-4AE0-B357-4E3C083B328C}">
      <dgm:prSet/>
      <dgm:spPr/>
      <dgm:t>
        <a:bodyPr/>
        <a:lstStyle/>
        <a:p>
          <a:endParaRPr lang="cs-CZ"/>
        </a:p>
      </dgm:t>
    </dgm:pt>
    <dgm:pt modelId="{A76E9A95-A5A6-46A2-A7E8-1C8F46B2C23A}" type="sibTrans" cxnId="{D7437160-64F0-4AE0-B357-4E3C083B328C}">
      <dgm:prSet/>
      <dgm:spPr/>
      <dgm:t>
        <a:bodyPr/>
        <a:lstStyle/>
        <a:p>
          <a:endParaRPr lang="cs-CZ"/>
        </a:p>
      </dgm:t>
    </dgm:pt>
    <dgm:pt modelId="{327C89C0-59B5-4E61-8CF8-02EB509E614D}">
      <dgm:prSet/>
      <dgm:spPr/>
      <dgm:t>
        <a:bodyPr/>
        <a:lstStyle/>
        <a:p>
          <a:r>
            <a:rPr lang="cs-CZ" b="1" dirty="0" smtClean="0">
              <a:ln w="0"/>
              <a:solidFill>
                <a:schemeClr val="tx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rPr>
            <a:t>VNITŘNÍ ŘÍDICÍ KONTROLNÍ SYSTÉM</a:t>
          </a:r>
        </a:p>
        <a:p>
          <a:r>
            <a:rPr lang="cs-CZ" dirty="0" smtClean="0"/>
            <a:t>CÍL dosažení funkčního a udržitelného VŘKS</a:t>
          </a:r>
        </a:p>
      </dgm:t>
    </dgm:pt>
    <dgm:pt modelId="{2E45BE20-7C14-4479-90A7-F3A1EFE22B92}" type="parTrans" cxnId="{7DEF2153-966F-4A62-844F-4D3A70B36AE2}">
      <dgm:prSet/>
      <dgm:spPr/>
      <dgm:t>
        <a:bodyPr/>
        <a:lstStyle/>
        <a:p>
          <a:endParaRPr lang="cs-CZ"/>
        </a:p>
      </dgm:t>
    </dgm:pt>
    <dgm:pt modelId="{631EE802-6FC9-486C-B899-AC6C18AE16B9}" type="sibTrans" cxnId="{7DEF2153-966F-4A62-844F-4D3A70B36AE2}">
      <dgm:prSet/>
      <dgm:spPr/>
      <dgm:t>
        <a:bodyPr/>
        <a:lstStyle/>
        <a:p>
          <a:endParaRPr lang="cs-CZ"/>
        </a:p>
      </dgm:t>
    </dgm:pt>
    <dgm:pt modelId="{D75A1211-2FAF-48AD-AA09-BD2DDAC66339}" type="pres">
      <dgm:prSet presAssocID="{BCB72E0F-85BD-4844-ABDF-E8FC9DA1534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8DABDC40-7B5F-48FD-A151-97A49B497408}" type="pres">
      <dgm:prSet presAssocID="{620BB7A9-8AB5-469F-ADA3-BA781992A58B}" presName="node" presStyleLbl="node1" presStyleIdx="0" presStyleCnt="4" custLinFactNeighborX="-25810" custLinFactNeighborY="-11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C6E13376-17EE-460E-B2DF-B32EC26E94BA}" type="pres">
      <dgm:prSet presAssocID="{66C869F0-D115-4B86-95B5-7447A6C27230}" presName="sibTrans" presStyleCnt="0"/>
      <dgm:spPr/>
    </dgm:pt>
    <dgm:pt modelId="{E9CAABB2-5EE6-4009-90C5-5C735B16EE7F}" type="pres">
      <dgm:prSet presAssocID="{9E3A5BC1-3EA4-4B40-9FB1-CDAEF4B66D4A}" presName="node" presStyleLbl="node1" presStyleIdx="1" presStyleCnt="4" custLinFactNeighborX="-27619" custLinFactNeighborY="-11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C62EE572-C285-4EB5-8461-F94CE2F34CF1}" type="pres">
      <dgm:prSet presAssocID="{9E27BA08-79F2-4C92-99DA-31AEB62B2891}" presName="sibTrans" presStyleCnt="0"/>
      <dgm:spPr/>
    </dgm:pt>
    <dgm:pt modelId="{439A7CD9-D8B4-4FB5-BCB7-B265739B3549}" type="pres">
      <dgm:prSet presAssocID="{327C89C0-59B5-4E61-8CF8-02EB509E614D}" presName="node" presStyleLbl="node1" presStyleIdx="2" presStyleCnt="4" custLinFactNeighborX="-26155" custLinFactNeighborY="-45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535B2B83-475F-48F4-B191-E471A095114F}" type="pres">
      <dgm:prSet presAssocID="{631EE802-6FC9-486C-B899-AC6C18AE16B9}" presName="sibTrans" presStyleCnt="0"/>
      <dgm:spPr/>
    </dgm:pt>
    <dgm:pt modelId="{683B87A4-E1DE-4B47-815F-69DFE294B979}" type="pres">
      <dgm:prSet presAssocID="{26EF4BFA-46C0-4E12-9156-31D040BF45D2}" presName="node" presStyleLbl="node1" presStyleIdx="3" presStyleCnt="4" custLinFactNeighborX="-25450" custLinFactNeighborY="-119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B5060EFC-0135-4ADF-9865-DC36F32F408A}" type="presOf" srcId="{9E3A5BC1-3EA4-4B40-9FB1-CDAEF4B66D4A}" destId="{E9CAABB2-5EE6-4009-90C5-5C735B16EE7F}" srcOrd="0" destOrd="0" presId="urn:microsoft.com/office/officeart/2005/8/layout/default"/>
    <dgm:cxn modelId="{D73924CD-CACE-4DFE-8A0A-A957E1C65E50}" srcId="{BCB72E0F-85BD-4844-ABDF-E8FC9DA1534A}" destId="{9E3A5BC1-3EA4-4B40-9FB1-CDAEF4B66D4A}" srcOrd="1" destOrd="0" parTransId="{5AD80DF7-23F3-468E-B35E-DEF2EA4C0B88}" sibTransId="{9E27BA08-79F2-4C92-99DA-31AEB62B2891}"/>
    <dgm:cxn modelId="{8BE2E10C-E7D4-46B5-8734-C667A9A1B5DC}" type="presOf" srcId="{620BB7A9-8AB5-469F-ADA3-BA781992A58B}" destId="{8DABDC40-7B5F-48FD-A151-97A49B497408}" srcOrd="0" destOrd="0" presId="urn:microsoft.com/office/officeart/2005/8/layout/default"/>
    <dgm:cxn modelId="{3A68E459-F5F4-43AF-8CB5-4F4A8067672B}" type="presOf" srcId="{26EF4BFA-46C0-4E12-9156-31D040BF45D2}" destId="{683B87A4-E1DE-4B47-815F-69DFE294B979}" srcOrd="0" destOrd="0" presId="urn:microsoft.com/office/officeart/2005/8/layout/default"/>
    <dgm:cxn modelId="{7DEF2153-966F-4A62-844F-4D3A70B36AE2}" srcId="{BCB72E0F-85BD-4844-ABDF-E8FC9DA1534A}" destId="{327C89C0-59B5-4E61-8CF8-02EB509E614D}" srcOrd="2" destOrd="0" parTransId="{2E45BE20-7C14-4479-90A7-F3A1EFE22B92}" sibTransId="{631EE802-6FC9-486C-B899-AC6C18AE16B9}"/>
    <dgm:cxn modelId="{70286D0E-4767-42EA-896E-A4A64031FB58}" type="presOf" srcId="{BCB72E0F-85BD-4844-ABDF-E8FC9DA1534A}" destId="{D75A1211-2FAF-48AD-AA09-BD2DDAC66339}" srcOrd="0" destOrd="0" presId="urn:microsoft.com/office/officeart/2005/8/layout/default"/>
    <dgm:cxn modelId="{552BB22E-3CB1-4626-893E-A86CF257F8A5}" srcId="{BCB72E0F-85BD-4844-ABDF-E8FC9DA1534A}" destId="{620BB7A9-8AB5-469F-ADA3-BA781992A58B}" srcOrd="0" destOrd="0" parTransId="{D6EFDA38-6729-4A76-90D0-D5D440DA42F7}" sibTransId="{66C869F0-D115-4B86-95B5-7447A6C27230}"/>
    <dgm:cxn modelId="{D7437160-64F0-4AE0-B357-4E3C083B328C}" srcId="{BCB72E0F-85BD-4844-ABDF-E8FC9DA1534A}" destId="{26EF4BFA-46C0-4E12-9156-31D040BF45D2}" srcOrd="3" destOrd="0" parTransId="{15B179FA-BD7B-4A30-9470-090CA4FCA603}" sibTransId="{A76E9A95-A5A6-46A2-A7E8-1C8F46B2C23A}"/>
    <dgm:cxn modelId="{5C02F19B-2250-4732-B3EF-72662292D794}" type="presOf" srcId="{327C89C0-59B5-4E61-8CF8-02EB509E614D}" destId="{439A7CD9-D8B4-4FB5-BCB7-B265739B3549}" srcOrd="0" destOrd="0" presId="urn:microsoft.com/office/officeart/2005/8/layout/default"/>
    <dgm:cxn modelId="{B9F4210C-915D-40A9-A28C-27B104979414}" type="presParOf" srcId="{D75A1211-2FAF-48AD-AA09-BD2DDAC66339}" destId="{8DABDC40-7B5F-48FD-A151-97A49B497408}" srcOrd="0" destOrd="0" presId="urn:microsoft.com/office/officeart/2005/8/layout/default"/>
    <dgm:cxn modelId="{13E89784-1D9F-4838-B993-A9345D931323}" type="presParOf" srcId="{D75A1211-2FAF-48AD-AA09-BD2DDAC66339}" destId="{C6E13376-17EE-460E-B2DF-B32EC26E94BA}" srcOrd="1" destOrd="0" presId="urn:microsoft.com/office/officeart/2005/8/layout/default"/>
    <dgm:cxn modelId="{1CFB3110-DF66-4F2E-A487-FD010F2E771F}" type="presParOf" srcId="{D75A1211-2FAF-48AD-AA09-BD2DDAC66339}" destId="{E9CAABB2-5EE6-4009-90C5-5C735B16EE7F}" srcOrd="2" destOrd="0" presId="urn:microsoft.com/office/officeart/2005/8/layout/default"/>
    <dgm:cxn modelId="{6E922D61-6626-4D0C-8EB1-1E48883D989F}" type="presParOf" srcId="{D75A1211-2FAF-48AD-AA09-BD2DDAC66339}" destId="{C62EE572-C285-4EB5-8461-F94CE2F34CF1}" srcOrd="3" destOrd="0" presId="urn:microsoft.com/office/officeart/2005/8/layout/default"/>
    <dgm:cxn modelId="{88F38E35-BA4B-4262-8F7D-6EF4067B5433}" type="presParOf" srcId="{D75A1211-2FAF-48AD-AA09-BD2DDAC66339}" destId="{439A7CD9-D8B4-4FB5-BCB7-B265739B3549}" srcOrd="4" destOrd="0" presId="urn:microsoft.com/office/officeart/2005/8/layout/default"/>
    <dgm:cxn modelId="{9C6D6E1C-7E3B-4D26-846C-1B9F434D91D5}" type="presParOf" srcId="{D75A1211-2FAF-48AD-AA09-BD2DDAC66339}" destId="{535B2B83-475F-48F4-B191-E471A095114F}" srcOrd="5" destOrd="0" presId="urn:microsoft.com/office/officeart/2005/8/layout/default"/>
    <dgm:cxn modelId="{B22B4554-7FD3-40FE-958E-216E53B170C9}" type="presParOf" srcId="{D75A1211-2FAF-48AD-AA09-BD2DDAC66339}" destId="{683B87A4-E1DE-4B47-815F-69DFE294B979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ABDC40-7B5F-48FD-A151-97A49B497408}">
      <dsp:nvSpPr>
        <dsp:cNvPr id="0" name=""/>
        <dsp:cNvSpPr/>
      </dsp:nvSpPr>
      <dsp:spPr>
        <a:xfrm>
          <a:off x="146519" y="0"/>
          <a:ext cx="3907408" cy="23444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b="1" kern="1200" dirty="0" smtClean="0">
              <a:ln w="0"/>
              <a:solidFill>
                <a:schemeClr val="tx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rPr>
            <a:t>PROJEKTOVÝ MANAGEMENT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kern="1200" dirty="0" smtClean="0"/>
            <a:t>CÍL získání a proplacení dotace bez finančních korekcí za splnění podmínky  3 E</a:t>
          </a:r>
          <a:endParaRPr lang="cs-CZ" sz="2400" kern="1200" dirty="0"/>
        </a:p>
      </dsp:txBody>
      <dsp:txXfrm>
        <a:off x="146519" y="0"/>
        <a:ext cx="3907408" cy="2344444"/>
      </dsp:txXfrm>
    </dsp:sp>
    <dsp:sp modelId="{E9CAABB2-5EE6-4009-90C5-5C735B16EE7F}">
      <dsp:nvSpPr>
        <dsp:cNvPr id="0" name=""/>
        <dsp:cNvSpPr/>
      </dsp:nvSpPr>
      <dsp:spPr>
        <a:xfrm>
          <a:off x="4373983" y="0"/>
          <a:ext cx="3907408" cy="23444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b="1" kern="1200" dirty="0" smtClean="0">
              <a:ln w="0"/>
              <a:solidFill>
                <a:schemeClr val="tx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rPr>
            <a:t>VZDĚLÁVÁNÍ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kern="1200" dirty="0" smtClean="0"/>
            <a:t>CÍL zvyšování úrovně kvalifikace zaměstnanců </a:t>
          </a:r>
          <a:endParaRPr lang="cs-CZ" sz="2400" kern="1200" dirty="0"/>
        </a:p>
      </dsp:txBody>
      <dsp:txXfrm>
        <a:off x="4373983" y="0"/>
        <a:ext cx="3907408" cy="2344444"/>
      </dsp:txXfrm>
    </dsp:sp>
    <dsp:sp modelId="{439A7CD9-D8B4-4FB5-BCB7-B265739B3549}">
      <dsp:nvSpPr>
        <dsp:cNvPr id="0" name=""/>
        <dsp:cNvSpPr/>
      </dsp:nvSpPr>
      <dsp:spPr>
        <a:xfrm>
          <a:off x="133039" y="2727250"/>
          <a:ext cx="3907408" cy="23444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b="1" kern="1200" dirty="0" smtClean="0">
              <a:ln w="0"/>
              <a:solidFill>
                <a:schemeClr val="tx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rPr>
            <a:t>VNITŘNÍ ŘÍDICÍ KONTROLNÍ SYSTÉM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kern="1200" dirty="0" smtClean="0"/>
            <a:t>CÍL dosažení funkčního a udržitelného VŘKS</a:t>
          </a:r>
        </a:p>
      </dsp:txBody>
      <dsp:txXfrm>
        <a:off x="133039" y="2727250"/>
        <a:ext cx="3907408" cy="2344444"/>
      </dsp:txXfrm>
    </dsp:sp>
    <dsp:sp modelId="{683B87A4-E1DE-4B47-815F-69DFE294B979}">
      <dsp:nvSpPr>
        <dsp:cNvPr id="0" name=""/>
        <dsp:cNvSpPr/>
      </dsp:nvSpPr>
      <dsp:spPr>
        <a:xfrm>
          <a:off x="4458735" y="2735151"/>
          <a:ext cx="3907408" cy="23444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b="1" kern="1200" dirty="0" smtClean="0">
              <a:ln w="0"/>
              <a:solidFill>
                <a:schemeClr val="tx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rPr>
            <a:t>VEŘEJNÉ ZAKÁZKY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kern="1200" dirty="0" smtClean="0"/>
            <a:t>CÍL řádná administrace veřejné zakázky bez finančních korekcí s cílem výběru vhodného dodavatele</a:t>
          </a:r>
        </a:p>
      </dsp:txBody>
      <dsp:txXfrm>
        <a:off x="4458735" y="2735151"/>
        <a:ext cx="3907408" cy="23444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6A435E-C364-450C-BF2A-A7CFC71071F7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6BF790-A837-415B-8C54-1DF001425E4A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496776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EADD06-D8FD-428C-A7B4-F109D3E53A02}" type="datetimeFigureOut">
              <a:rPr lang="cs-CZ" smtClean="0"/>
              <a:t>11.11.2020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569EF5-AEBD-4900-84E8-4C487A1E585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29564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smtClean="0"/>
              <a:t>Kliknutím lze upravit styl předlohy.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033804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494519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3881816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=""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=""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=""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=""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=""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=""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=""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=""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=""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=""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=""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=""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cs-CZ" noProof="0"/>
              <a:t>Kliknutím na ikonu přidáte obrázek.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=""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noProof="0"/>
              <a:t>Kliknutím lze upravit styl.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=""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1173854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=""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=""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rgbClr val="86BC25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=""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=""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=""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=""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=""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=""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=""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=""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=""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=""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cs-CZ" noProof="0"/>
              <a:t>Kliknutím na ikonu přidáte obrázek.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=""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noProof="0"/>
              <a:t>Kliknutím lze upravit styl.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=""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1782321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=""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Kliknutím na ikonu přidáte obrázek.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=""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noProof="0"/>
              <a:t>Kliknutím lze upravit styl.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=""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=""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=""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=""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=""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=""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=""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=""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=""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=""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=""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15392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1763366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2802220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3667969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6768906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cs-CZ"/>
              <a:t>Kliknutím na ikonu přidáte graf.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=""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7365246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1124814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=""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=""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769169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cs-CZ" noProof="0"/>
              <a:t>Kliknutím na ikonu přidáte graf.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=""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=""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6536819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cs-CZ"/>
              <a:t>Kliknutím na ikonu přidáte graf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cs-CZ"/>
              <a:t>Kliknutím na ikonu přidáte graf.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=""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=""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781159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cs-CZ" noProof="0"/>
              <a:t>Kliknutím na ikonu přidáte graf.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cs-CZ" noProof="0"/>
              <a:t>Kliknutím na ikonu přidáte graf.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cs-CZ" noProof="0"/>
              <a:t>Kliknutím na ikonu přidáte graf.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=""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=""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9275841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=""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7263161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=""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=""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7288435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=""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5866557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=""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="" xmlns:a16="http://schemas.microsoft.com/office/drawing/2014/main" id="{4D067F15-7090-4FD4-8B55-76CB78DD9BD0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900" dirty="0">
                <a:solidFill>
                  <a:prstClr val="white"/>
                </a:solidFill>
                <a:cs typeface="Calibri" panose="020F0502020204030204" pitchFamily="34" charset="0"/>
              </a:rPr>
              <a:t>Presentation title</a:t>
            </a:r>
            <a:br>
              <a:rPr lang="en-US" sz="900" dirty="0">
                <a:solidFill>
                  <a:prstClr val="white"/>
                </a:solidFill>
                <a:cs typeface="Calibri" panose="020F0502020204030204" pitchFamily="34" charset="0"/>
              </a:rPr>
            </a:br>
            <a:r>
              <a:rPr lang="en-US" sz="900" dirty="0">
                <a:solidFill>
                  <a:prstClr val="white"/>
                </a:solidFill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="" xmlns:a16="http://schemas.microsoft.com/office/drawing/2014/main" id="{A13EFA35-A937-47F7-93E5-9465F8876AC6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dirty="0">
                <a:solidFill>
                  <a:prstClr val="white"/>
                </a:solidFill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dirty="0">
                <a:solidFill>
                  <a:prstClr val="white"/>
                </a:solidFill>
                <a:cs typeface="Calibri" panose="020F0502020204030204" pitchFamily="34" charset="0"/>
              </a:rPr>
            </a:br>
            <a:r>
              <a:rPr lang="en-US" sz="900" dirty="0">
                <a:solidFill>
                  <a:prstClr val="white"/>
                </a:solidFill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D39B4359-4F20-4FAE-B7A0-C54983A639ED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smtClean="0">
                <a:solidFill>
                  <a:prstClr val="white"/>
                </a:solidFill>
                <a:cs typeface="Calibri" panose="020F0502020204030204" pitchFamily="34" charset="0"/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dirty="0">
              <a:solidFill>
                <a:prstClr val="white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960560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3559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316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5943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751329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7389788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cs-CZ"/>
              <a:t>Kliknutím na ikonu přidáte graf.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2920" y="2125013"/>
            <a:ext cx="5316825" cy="3996000"/>
          </a:xfrm>
        </p:spPr>
        <p:txBody>
          <a:bodyPr/>
          <a:lstStyle/>
          <a:p>
            <a:r>
              <a:rPr lang="cs-CZ"/>
              <a:t>Kliknutím na ikonu přidáte graf.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2920" y="1700213"/>
            <a:ext cx="5319272" cy="385762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2685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graf.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11136001" cy="357187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778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3315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2920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graf.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2920" y="1700214"/>
            <a:ext cx="3537600" cy="357187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graf.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graf.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4286" y="1700214"/>
            <a:ext cx="3540671" cy="357187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292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207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4612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2920" y="320040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2919" y="1700213"/>
            <a:ext cx="1116414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807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Kliknutím lze upravit styl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236139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/>
              <a:t>Kliknutím lze upravit styl.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/>
              <a:t>Po kliknutí můžete upravovat styly textu v předloze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8068862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04997566-12DB-42C6-84E6-8E749C2312C6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="" xmlns:a16="http://schemas.microsoft.com/office/drawing/2014/main" id="{0342BD48-5C4F-4819-BD37-89A6717CB9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="" xmlns:a16="http://schemas.microsoft.com/office/drawing/2014/main" id="{A45883A3-A15B-4670-8B4D-F88093CD47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="" xmlns:a16="http://schemas.microsoft.com/office/drawing/2014/main" id="{4A348EF0-ADC4-462A-90A0-4CFC00351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="" xmlns:a16="http://schemas.microsoft.com/office/drawing/2014/main" id="{A79EC0B1-EA9D-4403-8E95-16D34E280D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="" xmlns:a16="http://schemas.microsoft.com/office/drawing/2014/main" id="{61703B8D-1192-427B-A844-72937E6938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="" xmlns:a16="http://schemas.microsoft.com/office/drawing/2014/main" id="{64D1D140-37E4-4FDD-AE02-1774414EB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="" xmlns:a16="http://schemas.microsoft.com/office/drawing/2014/main" id="{7C6572CF-06BE-469A-81CE-8D5296B31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="" xmlns:a16="http://schemas.microsoft.com/office/drawing/2014/main" id="{E43F102F-68A0-410F-B141-874D3FF27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="" xmlns:a16="http://schemas.microsoft.com/office/drawing/2014/main" id="{52FA796B-05A6-4597-A863-F044BEB067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="" xmlns:a16="http://schemas.microsoft.com/office/drawing/2014/main" id="{CBD083F0-A3F9-415E-87B8-E17B452B56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31947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=""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=""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=""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=""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=""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=""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=""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=""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=""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=""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8873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="" xmlns:a16="http://schemas.microsoft.com/office/drawing/2014/main" id="{536C3F6F-A81A-CA4D-9CAB-CE3A353E59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11675-BD04-944E-9E31-4C4877F703F8}" type="datetimeFigureOut">
              <a:rPr lang="cs-CZ" smtClean="0">
                <a:solidFill>
                  <a:prstClr val="black"/>
                </a:solidFill>
              </a:rPr>
              <a:pPr/>
              <a:t>11.11.2020</a:t>
            </a:fld>
            <a:endParaRPr lang="cs-CZ">
              <a:solidFill>
                <a:prstClr val="black"/>
              </a:solidFill>
            </a:endParaRP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="" xmlns:a16="http://schemas.microsoft.com/office/drawing/2014/main" id="{96F4FE2F-3B07-A641-B2FA-C930B7702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>
              <a:solidFill>
                <a:prstClr val="black"/>
              </a:solidFill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="" xmlns:a16="http://schemas.microsoft.com/office/drawing/2014/main" id="{EB9B10BC-D802-CB41-B805-2374A2612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E41C8-AAAA-384F-BA3E-2E5AC1C2E582}" type="slidenum">
              <a:rPr lang="cs-CZ" smtClean="0">
                <a:solidFill>
                  <a:prstClr val="black"/>
                </a:solidFill>
              </a:rPr>
              <a:pPr/>
              <a:t>‹#›</a:t>
            </a:fld>
            <a:endParaRPr lang="cs-CZ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344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677744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="" xmlns:a16="http://schemas.microsoft.com/office/drawing/2014/main" id="{B94561C4-9A67-A547-9BA9-FCB35D47188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417143" y="1878227"/>
            <a:ext cx="3774858" cy="4979773"/>
          </a:xfrm>
          <a:custGeom>
            <a:avLst/>
            <a:gdLst>
              <a:gd name="connsiteX0" fmla="*/ 6610866 w 7547750"/>
              <a:gd name="connsiteY0" fmla="*/ 0 h 9959546"/>
              <a:gd name="connsiteX1" fmla="*/ 7286788 w 7547750"/>
              <a:gd name="connsiteY1" fmla="*/ 34132 h 9959546"/>
              <a:gd name="connsiteX2" fmla="*/ 7547750 w 7547750"/>
              <a:gd name="connsiteY2" fmla="*/ 67292 h 9959546"/>
              <a:gd name="connsiteX3" fmla="*/ 7547750 w 7547750"/>
              <a:gd name="connsiteY3" fmla="*/ 9959546 h 9959546"/>
              <a:gd name="connsiteX4" fmla="*/ 911486 w 7547750"/>
              <a:gd name="connsiteY4" fmla="*/ 9959546 h 9959546"/>
              <a:gd name="connsiteX5" fmla="*/ 797896 w 7547750"/>
              <a:gd name="connsiteY5" fmla="*/ 9761996 h 9959546"/>
              <a:gd name="connsiteX6" fmla="*/ 0 w 7547750"/>
              <a:gd name="connsiteY6" fmla="*/ 6610865 h 9959546"/>
              <a:gd name="connsiteX7" fmla="*/ 6610866 w 7547750"/>
              <a:gd name="connsiteY7" fmla="*/ 0 h 995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47750" h="9959546">
                <a:moveTo>
                  <a:pt x="6610866" y="0"/>
                </a:moveTo>
                <a:cubicBezTo>
                  <a:pt x="6839058" y="0"/>
                  <a:pt x="7064550" y="11562"/>
                  <a:pt x="7286788" y="34132"/>
                </a:cubicBezTo>
                <a:lnTo>
                  <a:pt x="7547750" y="67292"/>
                </a:lnTo>
                <a:lnTo>
                  <a:pt x="7547750" y="9959546"/>
                </a:lnTo>
                <a:lnTo>
                  <a:pt x="911486" y="9959546"/>
                </a:lnTo>
                <a:lnTo>
                  <a:pt x="797896" y="9761996"/>
                </a:lnTo>
                <a:cubicBezTo>
                  <a:pt x="289042" y="8825281"/>
                  <a:pt x="0" y="7751828"/>
                  <a:pt x="0" y="6610865"/>
                </a:cubicBezTo>
                <a:cubicBezTo>
                  <a:pt x="0" y="2959786"/>
                  <a:pt x="2959786" y="0"/>
                  <a:pt x="6610866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8610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C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="" xmlns:a16="http://schemas.microsoft.com/office/drawing/2014/main" id="{FA8AB4B1-06B1-A741-AB46-B9645373A7E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76547" y="2232801"/>
            <a:ext cx="3361803" cy="3359575"/>
          </a:xfrm>
          <a:prstGeom prst="ellipse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915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&amp;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="" xmlns:a16="http://schemas.microsoft.com/office/drawing/2014/main" id="{B0BDC4C1-55FF-664E-9DF7-5135A5F7A05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0" y="1878228"/>
            <a:ext cx="5586709" cy="4979773"/>
          </a:xfrm>
          <a:custGeom>
            <a:avLst/>
            <a:gdLst>
              <a:gd name="connsiteX0" fmla="*/ 5399904 w 11170508"/>
              <a:gd name="connsiteY0" fmla="*/ 0 h 9959545"/>
              <a:gd name="connsiteX1" fmla="*/ 11170508 w 11170508"/>
              <a:gd name="connsiteY1" fmla="*/ 5770605 h 9959545"/>
              <a:gd name="connsiteX2" fmla="*/ 9480337 w 11170508"/>
              <a:gd name="connsiteY2" fmla="*/ 9851039 h 9959545"/>
              <a:gd name="connsiteX3" fmla="*/ 9366529 w 11170508"/>
              <a:gd name="connsiteY3" fmla="*/ 9959545 h 9959545"/>
              <a:gd name="connsiteX4" fmla="*/ 1433278 w 11170508"/>
              <a:gd name="connsiteY4" fmla="*/ 9959545 h 9959545"/>
              <a:gd name="connsiteX5" fmla="*/ 1319470 w 11170508"/>
              <a:gd name="connsiteY5" fmla="*/ 9851039 h 9959545"/>
              <a:gd name="connsiteX6" fmla="*/ 82781 w 11170508"/>
              <a:gd name="connsiteY6" fmla="*/ 8016785 h 9959545"/>
              <a:gd name="connsiteX7" fmla="*/ 0 w 11170508"/>
              <a:gd name="connsiteY7" fmla="*/ 7806835 h 9959545"/>
              <a:gd name="connsiteX8" fmla="*/ 0 w 11170508"/>
              <a:gd name="connsiteY8" fmla="*/ 3734376 h 9959545"/>
              <a:gd name="connsiteX9" fmla="*/ 82781 w 11170508"/>
              <a:gd name="connsiteY9" fmla="*/ 3524426 h 9959545"/>
              <a:gd name="connsiteX10" fmla="*/ 5399904 w 11170508"/>
              <a:gd name="connsiteY10" fmla="*/ 0 h 995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70508" h="9959545">
                <a:moveTo>
                  <a:pt x="5399904" y="0"/>
                </a:moveTo>
                <a:cubicBezTo>
                  <a:pt x="8586920" y="0"/>
                  <a:pt x="11170508" y="2583588"/>
                  <a:pt x="11170508" y="5770605"/>
                </a:cubicBezTo>
                <a:cubicBezTo>
                  <a:pt x="11170508" y="7364113"/>
                  <a:pt x="10524611" y="8806765"/>
                  <a:pt x="9480337" y="9851039"/>
                </a:cubicBezTo>
                <a:lnTo>
                  <a:pt x="9366529" y="9959545"/>
                </a:lnTo>
                <a:lnTo>
                  <a:pt x="1433278" y="9959545"/>
                </a:lnTo>
                <a:lnTo>
                  <a:pt x="1319470" y="9851039"/>
                </a:lnTo>
                <a:cubicBezTo>
                  <a:pt x="797332" y="9328902"/>
                  <a:pt x="374790" y="8707170"/>
                  <a:pt x="82781" y="8016785"/>
                </a:cubicBezTo>
                <a:lnTo>
                  <a:pt x="0" y="7806835"/>
                </a:lnTo>
                <a:lnTo>
                  <a:pt x="0" y="3734376"/>
                </a:lnTo>
                <a:lnTo>
                  <a:pt x="82781" y="3524426"/>
                </a:lnTo>
                <a:cubicBezTo>
                  <a:pt x="958807" y="1453269"/>
                  <a:pt x="3009641" y="0"/>
                  <a:pt x="5399904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100" b="1" i="0"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4262140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05462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at We 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4DD7EF42-AFF9-644A-BABF-EC024295CD1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62106" y="0"/>
            <a:ext cx="3429895" cy="6858000"/>
          </a:xfrm>
          <a:custGeom>
            <a:avLst/>
            <a:gdLst>
              <a:gd name="connsiteX0" fmla="*/ 6858000 w 6858004"/>
              <a:gd name="connsiteY0" fmla="*/ 0 h 13716000"/>
              <a:gd name="connsiteX1" fmla="*/ 6858004 w 6858004"/>
              <a:gd name="connsiteY1" fmla="*/ 0 h 13716000"/>
              <a:gd name="connsiteX2" fmla="*/ 6858004 w 6858004"/>
              <a:gd name="connsiteY2" fmla="*/ 13716000 h 13716000"/>
              <a:gd name="connsiteX3" fmla="*/ 6858000 w 6858004"/>
              <a:gd name="connsiteY3" fmla="*/ 13716000 h 13716000"/>
              <a:gd name="connsiteX4" fmla="*/ 0 w 6858004"/>
              <a:gd name="connsiteY4" fmla="*/ 6858000 h 13716000"/>
              <a:gd name="connsiteX5" fmla="*/ 6858000 w 6858004"/>
              <a:gd name="connsiteY5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4" h="13716000">
                <a:moveTo>
                  <a:pt x="6858000" y="0"/>
                </a:moveTo>
                <a:lnTo>
                  <a:pt x="6858004" y="0"/>
                </a:lnTo>
                <a:lnTo>
                  <a:pt x="6858004" y="13716000"/>
                </a:lnTo>
                <a:lnTo>
                  <a:pt x="6858000" y="13716000"/>
                </a:lnTo>
                <a:cubicBezTo>
                  <a:pt x="3070432" y="13716000"/>
                  <a:pt x="0" y="10645569"/>
                  <a:pt x="0" y="6858000"/>
                </a:cubicBezTo>
                <a:cubicBezTo>
                  <a:pt x="0" y="3070431"/>
                  <a:pt x="3070432" y="0"/>
                  <a:pt x="6858000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="" xmlns:a16="http://schemas.microsoft.com/office/drawing/2014/main" id="{45D15EE4-0DC1-A24B-BA57-857519D4D2A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" y="0"/>
            <a:ext cx="3429893" cy="6858000"/>
          </a:xfrm>
          <a:custGeom>
            <a:avLst/>
            <a:gdLst>
              <a:gd name="connsiteX0" fmla="*/ 0 w 6858000"/>
              <a:gd name="connsiteY0" fmla="*/ 0 h 13716000"/>
              <a:gd name="connsiteX1" fmla="*/ 352911 w 6858000"/>
              <a:gd name="connsiteY1" fmla="*/ 8924 h 13716000"/>
              <a:gd name="connsiteX2" fmla="*/ 6858000 w 6858000"/>
              <a:gd name="connsiteY2" fmla="*/ 6858000 h 13716000"/>
              <a:gd name="connsiteX3" fmla="*/ 352911 w 6858000"/>
              <a:gd name="connsiteY3" fmla="*/ 13707076 h 13716000"/>
              <a:gd name="connsiteX4" fmla="*/ 0 w 6858000"/>
              <a:gd name="connsiteY4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13716000">
                <a:moveTo>
                  <a:pt x="0" y="0"/>
                </a:moveTo>
                <a:lnTo>
                  <a:pt x="352911" y="8924"/>
                </a:lnTo>
                <a:cubicBezTo>
                  <a:pt x="3976472" y="192602"/>
                  <a:pt x="6858000" y="3188793"/>
                  <a:pt x="6858000" y="6858000"/>
                </a:cubicBezTo>
                <a:cubicBezTo>
                  <a:pt x="6858000" y="10527207"/>
                  <a:pt x="3976472" y="13523398"/>
                  <a:pt x="352911" y="13707076"/>
                </a:cubicBezTo>
                <a:lnTo>
                  <a:pt x="0" y="137160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9581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A6D03A8-38DA-1141-93A4-105CC5C37F93}"/>
              </a:ext>
            </a:extLst>
          </p:cNvPr>
          <p:cNvSpPr/>
          <p:nvPr userDrawn="1"/>
        </p:nvSpPr>
        <p:spPr>
          <a:xfrm>
            <a:off x="11109043" y="314325"/>
            <a:ext cx="404918" cy="395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prstClr val="white"/>
              </a:solidFill>
              <a:latin typeface="Nunito Sans ExtraLight" pitchFamily="2" charset="77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="" xmlns:a16="http://schemas.microsoft.com/office/drawing/2014/main" id="{600F155D-B21A-D640-B438-FD8B341C41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36075" y="0"/>
            <a:ext cx="8755926" cy="6858000"/>
          </a:xfrm>
          <a:custGeom>
            <a:avLst/>
            <a:gdLst>
              <a:gd name="connsiteX0" fmla="*/ 5945591 w 17507291"/>
              <a:gd name="connsiteY0" fmla="*/ 0 h 13716000"/>
              <a:gd name="connsiteX1" fmla="*/ 12045845 w 17507291"/>
              <a:gd name="connsiteY1" fmla="*/ 0 h 13716000"/>
              <a:gd name="connsiteX2" fmla="*/ 12088749 w 17507291"/>
              <a:gd name="connsiteY2" fmla="*/ 14517 h 13716000"/>
              <a:gd name="connsiteX3" fmla="*/ 17445579 w 17507291"/>
              <a:gd name="connsiteY3" fmla="*/ 5371349 h 13716000"/>
              <a:gd name="connsiteX4" fmla="*/ 17507291 w 17507291"/>
              <a:gd name="connsiteY4" fmla="*/ 5553733 h 13716000"/>
              <a:gd name="connsiteX5" fmla="*/ 17507291 w 17507291"/>
              <a:gd name="connsiteY5" fmla="*/ 11375024 h 13716000"/>
              <a:gd name="connsiteX6" fmla="*/ 17445579 w 17507291"/>
              <a:gd name="connsiteY6" fmla="*/ 11557408 h 13716000"/>
              <a:gd name="connsiteX7" fmla="*/ 16455109 w 17507291"/>
              <a:gd name="connsiteY7" fmla="*/ 13493969 h 13716000"/>
              <a:gd name="connsiteX8" fmla="*/ 16297221 w 17507291"/>
              <a:gd name="connsiteY8" fmla="*/ 13716000 h 13716000"/>
              <a:gd name="connsiteX9" fmla="*/ 1694216 w 17507291"/>
              <a:gd name="connsiteY9" fmla="*/ 13716000 h 13716000"/>
              <a:gd name="connsiteX10" fmla="*/ 1536327 w 17507291"/>
              <a:gd name="connsiteY10" fmla="*/ 13493969 h 13716000"/>
              <a:gd name="connsiteX11" fmla="*/ 0 w 17507291"/>
              <a:gd name="connsiteY11" fmla="*/ 8464378 h 13716000"/>
              <a:gd name="connsiteX12" fmla="*/ 5902688 w 17507291"/>
              <a:gd name="connsiteY12" fmla="*/ 14517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507291" h="13716000">
                <a:moveTo>
                  <a:pt x="5945591" y="0"/>
                </a:moveTo>
                <a:lnTo>
                  <a:pt x="12045845" y="0"/>
                </a:lnTo>
                <a:lnTo>
                  <a:pt x="12088749" y="14517"/>
                </a:lnTo>
                <a:cubicBezTo>
                  <a:pt x="14568777" y="922578"/>
                  <a:pt x="16537519" y="2891319"/>
                  <a:pt x="17445579" y="5371349"/>
                </a:cubicBezTo>
                <a:lnTo>
                  <a:pt x="17507291" y="5553733"/>
                </a:lnTo>
                <a:lnTo>
                  <a:pt x="17507291" y="11375024"/>
                </a:lnTo>
                <a:lnTo>
                  <a:pt x="17445579" y="11557408"/>
                </a:lnTo>
                <a:cubicBezTo>
                  <a:pt x="17193341" y="12246305"/>
                  <a:pt x="16859259" y="12895750"/>
                  <a:pt x="16455109" y="13493969"/>
                </a:cubicBezTo>
                <a:lnTo>
                  <a:pt x="16297221" y="13716000"/>
                </a:lnTo>
                <a:lnTo>
                  <a:pt x="1694216" y="13716000"/>
                </a:lnTo>
                <a:lnTo>
                  <a:pt x="1536327" y="13493969"/>
                </a:lnTo>
                <a:cubicBezTo>
                  <a:pt x="566370" y="12058244"/>
                  <a:pt x="0" y="10327452"/>
                  <a:pt x="0" y="8464378"/>
                </a:cubicBezTo>
                <a:cubicBezTo>
                  <a:pt x="0" y="4582974"/>
                  <a:pt x="2458203" y="1275713"/>
                  <a:pt x="5902688" y="14517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1414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="" xmlns:a16="http://schemas.microsoft.com/office/drawing/2014/main" id="{8A70F565-ED7A-2B45-92FF-EC195962993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459633" y="1536700"/>
            <a:ext cx="4971756" cy="494030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="" xmlns:a16="http://schemas.microsoft.com/office/drawing/2014/main" id="{8301DDAE-2262-2842-92BA-1B9BBC24463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941" y="1536700"/>
            <a:ext cx="4971756" cy="494030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146548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e Va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="" xmlns:a16="http://schemas.microsoft.com/office/drawing/2014/main" id="{CE4CD333-4BF8-EA4E-B7BF-D6560BAAA0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4906910" cy="6858000"/>
          </a:xfrm>
          <a:custGeom>
            <a:avLst/>
            <a:gdLst>
              <a:gd name="connsiteX0" fmla="*/ 0 w 9811264"/>
              <a:gd name="connsiteY0" fmla="*/ 0 h 13715999"/>
              <a:gd name="connsiteX1" fmla="*/ 5851617 w 9811264"/>
              <a:gd name="connsiteY1" fmla="*/ 0 h 13715999"/>
              <a:gd name="connsiteX2" fmla="*/ 5997745 w 9811264"/>
              <a:gd name="connsiteY2" fmla="*/ 84022 h 13715999"/>
              <a:gd name="connsiteX3" fmla="*/ 9811264 w 9811264"/>
              <a:gd name="connsiteY3" fmla="*/ 6857999 h 13715999"/>
              <a:gd name="connsiteX4" fmla="*/ 5997745 w 9811264"/>
              <a:gd name="connsiteY4" fmla="*/ 13631976 h 13715999"/>
              <a:gd name="connsiteX5" fmla="*/ 5851615 w 9811264"/>
              <a:gd name="connsiteY5" fmla="*/ 13715999 h 13715999"/>
              <a:gd name="connsiteX6" fmla="*/ 0 w 9811264"/>
              <a:gd name="connsiteY6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11264" h="13715999">
                <a:moveTo>
                  <a:pt x="0" y="0"/>
                </a:moveTo>
                <a:lnTo>
                  <a:pt x="5851617" y="0"/>
                </a:lnTo>
                <a:lnTo>
                  <a:pt x="5997745" y="84022"/>
                </a:lnTo>
                <a:cubicBezTo>
                  <a:pt x="8284039" y="1473208"/>
                  <a:pt x="9811264" y="3987253"/>
                  <a:pt x="9811264" y="6857999"/>
                </a:cubicBezTo>
                <a:cubicBezTo>
                  <a:pt x="9811264" y="9728746"/>
                  <a:pt x="8284039" y="12242790"/>
                  <a:pt x="5997745" y="13631976"/>
                </a:cubicBezTo>
                <a:lnTo>
                  <a:pt x="5851615" y="13715999"/>
                </a:lnTo>
                <a:lnTo>
                  <a:pt x="0" y="13715999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5336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6">
            <a:extLst>
              <a:ext uri="{FF2B5EF4-FFF2-40B4-BE49-F238E27FC236}">
                <a16:creationId xmlns="" xmlns:a16="http://schemas.microsoft.com/office/drawing/2014/main" id="{C12CD587-EF4E-6A45-8026-A58CAE3575A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941" y="1536700"/>
            <a:ext cx="3202821" cy="494030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Picture Placeholder 16">
            <a:extLst>
              <a:ext uri="{FF2B5EF4-FFF2-40B4-BE49-F238E27FC236}">
                <a16:creationId xmlns="" xmlns:a16="http://schemas.microsoft.com/office/drawing/2014/main" id="{00EC1CFE-5A09-514D-B14A-EADA3C52DB2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28569" y="1536700"/>
            <a:ext cx="3202821" cy="494030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Picture Placeholder 16">
            <a:extLst>
              <a:ext uri="{FF2B5EF4-FFF2-40B4-BE49-F238E27FC236}">
                <a16:creationId xmlns="" xmlns:a16="http://schemas.microsoft.com/office/drawing/2014/main" id="{E5809E20-F6B9-0D46-9B48-D3CE3BDCC35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558106" y="1536700"/>
            <a:ext cx="3202821" cy="494030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55747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999226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476669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037985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45735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 smtClean="0"/>
              <a:t>Kliknutím na ikonu přidáte obrázek.</a:t>
            </a:r>
            <a:endParaRPr lang="cs-CZ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420912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image" Target="../media/image3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6540" y="164240"/>
            <a:ext cx="2934480" cy="60401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mtClean="0"/>
              <a:t>Kliknutím lze upravit styl.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59D60B-1C2A-4B5F-8DB5-556B62A35AA6}" type="datetimeFigureOut">
              <a:rPr lang="cs-CZ" smtClean="0"/>
              <a:t>11.11.2020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C7B1D9-EEA4-43EF-AE38-F6C5344C9E82}" type="slidenum">
              <a:rPr lang="cs-CZ" smtClean="0"/>
              <a:t>‹#›</a:t>
            </a:fld>
            <a:endParaRPr lang="cs-CZ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3020" y="4544377"/>
            <a:ext cx="3973830" cy="3973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274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0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/>
              <a:t>Kliknutím lze upravit styl.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/>
              <a:t>Po kliknutí můžete upravovat styly textu v předloze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smtClean="0">
                <a:solidFill>
                  <a:prstClr val="black"/>
                </a:solidFill>
                <a:cs typeface="Calibri" panose="020F0502020204030204" pitchFamily="34" charset="0"/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778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5" r:id="rId27"/>
    <p:sldLayoutId id="2147483726" r:id="rId28"/>
    <p:sldLayoutId id="2147483727" r:id="rId29"/>
    <p:sldLayoutId id="2147483728" r:id="rId30"/>
    <p:sldLayoutId id="2147483729" r:id="rId31"/>
    <p:sldLayoutId id="2147483730" r:id="rId32"/>
    <p:sldLayoutId id="2147483731" r:id="rId33"/>
    <p:sldLayoutId id="2147483732" r:id="rId34"/>
    <p:sldLayoutId id="2147483733" r:id="rId35"/>
    <p:sldLayoutId id="2147483734" r:id="rId36"/>
    <p:sldLayoutId id="2147483735" r:id="rId37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1">
          <p15:clr>
            <a:srgbClr val="F26B43"/>
          </p15:clr>
        </p15:guide>
        <p15:guide id="2" orient="horz" pos="4020">
          <p15:clr>
            <a:srgbClr val="F26B43"/>
          </p15:clr>
        </p15:guide>
        <p15:guide id="3" orient="horz" pos="4080">
          <p15:clr>
            <a:srgbClr val="F26B43"/>
          </p15:clr>
        </p15:guide>
        <p15:guide id="4" pos="3840">
          <p15:clr>
            <a:srgbClr val="F26B43"/>
          </p15:clr>
        </p15:guide>
        <p15:guide id="5" pos="3912">
          <p15:clr>
            <a:srgbClr val="F26B43"/>
          </p15:clr>
        </p15:guide>
        <p15:guide id="6" pos="3768">
          <p15:clr>
            <a:srgbClr val="F26B43"/>
          </p15:clr>
        </p15:guide>
        <p15:guide id="7" pos="4968">
          <p15:clr>
            <a:srgbClr val="F26B43"/>
          </p15:clr>
        </p15:guide>
        <p15:guide id="8" pos="5088">
          <p15:clr>
            <a:srgbClr val="F26B43"/>
          </p15:clr>
        </p15:guide>
        <p15:guide id="9" pos="6168">
          <p15:clr>
            <a:srgbClr val="F26B43"/>
          </p15:clr>
        </p15:guide>
        <p15:guide id="10" pos="6288">
          <p15:clr>
            <a:srgbClr val="F26B43"/>
          </p15:clr>
        </p15:guide>
        <p15:guide id="11" pos="2712">
          <p15:clr>
            <a:srgbClr val="F26B43"/>
          </p15:clr>
        </p15:guide>
        <p15:guide id="12" pos="2592">
          <p15:clr>
            <a:srgbClr val="F26B43"/>
          </p15:clr>
        </p15:guide>
        <p15:guide id="13" pos="1512">
          <p15:clr>
            <a:srgbClr val="F26B43"/>
          </p15:clr>
        </p15:guide>
        <p15:guide id="14" pos="1392">
          <p15:clr>
            <a:srgbClr val="F26B43"/>
          </p15:clr>
        </p15:guide>
        <p15:guide id="15" pos="312">
          <p15:clr>
            <a:srgbClr val="F26B43"/>
          </p15:clr>
        </p15:guide>
        <p15:guide id="16" orient="horz" pos="1056">
          <p15:clr>
            <a:srgbClr val="F26B43"/>
          </p15:clr>
        </p15:guide>
        <p15:guide id="17" orient="horz" pos="2232">
          <p15:clr>
            <a:srgbClr val="F26B43"/>
          </p15:clr>
        </p15:guide>
        <p15:guide id="18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3.svg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308" y="4306297"/>
            <a:ext cx="4210396" cy="2805545"/>
          </a:xfrm>
        </p:spPr>
      </p:pic>
      <p:sp>
        <p:nvSpPr>
          <p:cNvPr id="10" name="Donut 30">
            <a:extLst>
              <a:ext uri="{FF2B5EF4-FFF2-40B4-BE49-F238E27FC236}">
                <a16:creationId xmlns="" xmlns:a16="http://schemas.microsoft.com/office/drawing/2014/main" id="{7F8A5E84-D80A-8444-B054-162A62BB912B}"/>
              </a:ext>
            </a:extLst>
          </p:cNvPr>
          <p:cNvSpPr/>
          <p:nvPr/>
        </p:nvSpPr>
        <p:spPr>
          <a:xfrm>
            <a:off x="8832866" y="3491014"/>
            <a:ext cx="3766490" cy="3766490"/>
          </a:xfrm>
          <a:prstGeom prst="donut">
            <a:avLst>
              <a:gd name="adj" fmla="val 3650"/>
            </a:avLst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5" name="Obdélník 4"/>
          <p:cNvSpPr/>
          <p:nvPr/>
        </p:nvSpPr>
        <p:spPr>
          <a:xfrm>
            <a:off x="1048871" y="1090357"/>
            <a:ext cx="806823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500" b="1" spc="450" dirty="0">
                <a:solidFill>
                  <a:schemeClr val="accent1">
                    <a:lumMod val="75000"/>
                  </a:schemeClr>
                </a:solidFill>
                <a:latin typeface="Nunito Sans" pitchFamily="2" charset="77"/>
                <a:ea typeface="Source Sans Pro" panose="020B0503030403020204" pitchFamily="34" charset="0"/>
                <a:cs typeface="Mukta" panose="020B0000000000000000" pitchFamily="34" charset="77"/>
              </a:rPr>
              <a:t>PROJEKTOVÁ </a:t>
            </a:r>
          </a:p>
          <a:p>
            <a:pPr algn="ctr"/>
            <a:r>
              <a:rPr lang="en-US" sz="7500" b="1" spc="450" dirty="0">
                <a:solidFill>
                  <a:schemeClr val="accent1">
                    <a:lumMod val="75000"/>
                  </a:schemeClr>
                </a:solidFill>
                <a:latin typeface="Nunito Sans" pitchFamily="2" charset="77"/>
                <a:ea typeface="Source Sans Pro" panose="020B0503030403020204" pitchFamily="34" charset="0"/>
                <a:cs typeface="Mukta" panose="020B0000000000000000" pitchFamily="34" charset="77"/>
              </a:rPr>
              <a:t>KANCELÁŘ</a:t>
            </a:r>
          </a:p>
        </p:txBody>
      </p:sp>
      <p:sp>
        <p:nvSpPr>
          <p:cNvPr id="11" name="TextBox 7"/>
          <p:cNvSpPr txBox="1"/>
          <p:nvPr/>
        </p:nvSpPr>
        <p:spPr>
          <a:xfrm>
            <a:off x="3428022" y="3491014"/>
            <a:ext cx="3641638" cy="461665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ctr"/>
            <a:r>
              <a:rPr lang="en-US" sz="2400" spc="750" dirty="0">
                <a:latin typeface="Nunito Sans ExtraLight" pitchFamily="2" charset="77"/>
                <a:ea typeface="Noto Sans ExtraLight" panose="020B0302040504020204" pitchFamily="34" charset="0"/>
                <a:cs typeface="Noto Sans ExtraLight" panose="020B0302040504020204" pitchFamily="34" charset="0"/>
              </a:rPr>
              <a:t>KRAJE VYSOČINA</a:t>
            </a:r>
          </a:p>
        </p:txBody>
      </p:sp>
    </p:spTree>
    <p:extLst>
      <p:ext uri="{BB962C8B-B14F-4D97-AF65-F5344CB8AC3E}">
        <p14:creationId xmlns:p14="http://schemas.microsoft.com/office/powerpoint/2010/main" val="362946692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Zástupný symbol pro obsah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8194" y="4774883"/>
            <a:ext cx="4212336" cy="280416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33233" y="255943"/>
            <a:ext cx="10515600" cy="835878"/>
          </a:xfrm>
        </p:spPr>
        <p:txBody>
          <a:bodyPr/>
          <a:lstStyle/>
          <a:p>
            <a:r>
              <a:rPr lang="cs-CZ" b="1" dirty="0" smtClean="0"/>
              <a:t>PRODUKTY </a:t>
            </a:r>
            <a:r>
              <a:rPr lang="cs-CZ" b="1" dirty="0"/>
              <a:t>PKKV</a:t>
            </a:r>
            <a:endParaRPr lang="cs-CZ" dirty="0"/>
          </a:p>
        </p:txBody>
      </p:sp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93293684"/>
              </p:ext>
            </p:extLst>
          </p:nvPr>
        </p:nvGraphicFramePr>
        <p:xfrm>
          <a:off x="333233" y="1091821"/>
          <a:ext cx="10515600" cy="50851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Donut 30">
            <a:extLst>
              <a:ext uri="{FF2B5EF4-FFF2-40B4-BE49-F238E27FC236}">
                <a16:creationId xmlns="" xmlns:a16="http://schemas.microsoft.com/office/drawing/2014/main" id="{7F8A5E84-D80A-8444-B054-162A62BB912B}"/>
              </a:ext>
            </a:extLst>
          </p:cNvPr>
          <p:cNvSpPr/>
          <p:nvPr/>
        </p:nvSpPr>
        <p:spPr>
          <a:xfrm>
            <a:off x="8965588" y="4162001"/>
            <a:ext cx="3766490" cy="3766490"/>
          </a:xfrm>
          <a:prstGeom prst="donut">
            <a:avLst>
              <a:gd name="adj" fmla="val 3650"/>
            </a:avLst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7214047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Zástupný symbol pro obsah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8183" y="4873937"/>
            <a:ext cx="3111453" cy="2071300"/>
          </a:xfrm>
          <a:prstGeom prst="rect">
            <a:avLst/>
          </a:prstGeom>
        </p:spPr>
      </p:pic>
      <p:sp>
        <p:nvSpPr>
          <p:cNvPr id="21" name="Shape 54781">
            <a:extLst>
              <a:ext uri="{FF2B5EF4-FFF2-40B4-BE49-F238E27FC236}">
                <a16:creationId xmlns="" xmlns:a16="http://schemas.microsoft.com/office/drawing/2014/main" id="{6183637B-8803-A84C-BA7E-2E4587DAA5E4}"/>
              </a:ext>
            </a:extLst>
          </p:cNvPr>
          <p:cNvSpPr/>
          <p:nvPr/>
        </p:nvSpPr>
        <p:spPr>
          <a:xfrm>
            <a:off x="6764469" y="3742794"/>
            <a:ext cx="1075753" cy="9765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6205" y="0"/>
                </a:lnTo>
                <a:lnTo>
                  <a:pt x="0" y="0"/>
                </a:lnTo>
              </a:path>
            </a:pathLst>
          </a:custGeom>
          <a:noFill/>
          <a:ln w="38100" cap="flat">
            <a:solidFill>
              <a:schemeClr val="bg1">
                <a:lumMod val="85000"/>
              </a:schemeClr>
            </a:solidFill>
            <a:prstDash val="solid"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22" name="Shape 54782">
            <a:extLst>
              <a:ext uri="{FF2B5EF4-FFF2-40B4-BE49-F238E27FC236}">
                <a16:creationId xmlns="" xmlns:a16="http://schemas.microsoft.com/office/drawing/2014/main" id="{446446B3-A0FA-584A-A1B9-4A531B7AE31F}"/>
              </a:ext>
            </a:extLst>
          </p:cNvPr>
          <p:cNvSpPr/>
          <p:nvPr/>
        </p:nvSpPr>
        <p:spPr>
          <a:xfrm>
            <a:off x="3774135" y="2594535"/>
            <a:ext cx="5518898" cy="16815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0"/>
                </a:lnTo>
                <a:lnTo>
                  <a:pt x="0" y="0"/>
                </a:lnTo>
              </a:path>
            </a:pathLst>
          </a:custGeom>
          <a:noFill/>
          <a:ln w="38100" cap="flat">
            <a:solidFill>
              <a:schemeClr val="bg1">
                <a:lumMod val="85000"/>
              </a:schemeClr>
            </a:solidFill>
            <a:prstDash val="solid"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23" name="Shape 54783">
            <a:extLst>
              <a:ext uri="{FF2B5EF4-FFF2-40B4-BE49-F238E27FC236}">
                <a16:creationId xmlns="" xmlns:a16="http://schemas.microsoft.com/office/drawing/2014/main" id="{F0C6C2FB-F383-664E-AFA7-C623BD653932}"/>
              </a:ext>
            </a:extLst>
          </p:cNvPr>
          <p:cNvSpPr/>
          <p:nvPr/>
        </p:nvSpPr>
        <p:spPr>
          <a:xfrm>
            <a:off x="7806238" y="1731744"/>
            <a:ext cx="2182160" cy="2364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0"/>
                </a:lnTo>
                <a:lnTo>
                  <a:pt x="0" y="0"/>
                </a:lnTo>
              </a:path>
            </a:pathLst>
          </a:custGeom>
          <a:noFill/>
          <a:ln w="38100" cap="flat">
            <a:solidFill>
              <a:schemeClr val="bg1">
                <a:lumMod val="85000"/>
              </a:schemeClr>
            </a:solidFill>
            <a:prstDash val="solid"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24" name="Shape 54784">
            <a:extLst>
              <a:ext uri="{FF2B5EF4-FFF2-40B4-BE49-F238E27FC236}">
                <a16:creationId xmlns="" xmlns:a16="http://schemas.microsoft.com/office/drawing/2014/main" id="{4D09D4B8-CB04-5B47-BE51-A8F03794555E}"/>
              </a:ext>
            </a:extLst>
          </p:cNvPr>
          <p:cNvSpPr/>
          <p:nvPr/>
        </p:nvSpPr>
        <p:spPr>
          <a:xfrm>
            <a:off x="3656122" y="5066651"/>
            <a:ext cx="2455669" cy="7961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6503" y="0"/>
                </a:lnTo>
                <a:lnTo>
                  <a:pt x="0" y="0"/>
                </a:lnTo>
              </a:path>
            </a:pathLst>
          </a:custGeom>
          <a:noFill/>
          <a:ln w="38100" cap="flat">
            <a:solidFill>
              <a:schemeClr val="bg1">
                <a:lumMod val="85000"/>
              </a:schemeClr>
            </a:solidFill>
            <a:prstDash val="solid"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25" name="Freeform 24">
            <a:extLst>
              <a:ext uri="{FF2B5EF4-FFF2-40B4-BE49-F238E27FC236}">
                <a16:creationId xmlns="" xmlns:a16="http://schemas.microsoft.com/office/drawing/2014/main" id="{187A34BB-13EE-9E4B-A47A-F33DA25D525D}"/>
              </a:ext>
            </a:extLst>
          </p:cNvPr>
          <p:cNvSpPr/>
          <p:nvPr/>
        </p:nvSpPr>
        <p:spPr>
          <a:xfrm>
            <a:off x="4139195" y="4465146"/>
            <a:ext cx="6476119" cy="2392854"/>
          </a:xfrm>
          <a:custGeom>
            <a:avLst/>
            <a:gdLst>
              <a:gd name="connsiteX0" fmla="*/ 11530893 w 12952237"/>
              <a:gd name="connsiteY0" fmla="*/ 0 h 4785708"/>
              <a:gd name="connsiteX1" fmla="*/ 12952237 w 12952237"/>
              <a:gd name="connsiteY1" fmla="*/ 0 h 4785708"/>
              <a:gd name="connsiteX2" fmla="*/ 6789956 w 12952237"/>
              <a:gd name="connsiteY2" fmla="*/ 4785708 h 4785708"/>
              <a:gd name="connsiteX3" fmla="*/ 0 w 12952237"/>
              <a:gd name="connsiteY3" fmla="*/ 4785708 h 4785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952237" h="4785708">
                <a:moveTo>
                  <a:pt x="11530893" y="0"/>
                </a:moveTo>
                <a:lnTo>
                  <a:pt x="12952237" y="0"/>
                </a:lnTo>
                <a:lnTo>
                  <a:pt x="6789956" y="4785708"/>
                </a:lnTo>
                <a:lnTo>
                  <a:pt x="0" y="478570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26" name="Shape 54788">
            <a:extLst>
              <a:ext uri="{FF2B5EF4-FFF2-40B4-BE49-F238E27FC236}">
                <a16:creationId xmlns="" xmlns:a16="http://schemas.microsoft.com/office/drawing/2014/main" id="{23BC6C30-2C6F-0E4F-A3C0-A856D3CD3857}"/>
              </a:ext>
            </a:extLst>
          </p:cNvPr>
          <p:cNvSpPr/>
          <p:nvPr/>
        </p:nvSpPr>
        <p:spPr>
          <a:xfrm>
            <a:off x="9900512" y="2607847"/>
            <a:ext cx="1529489" cy="18573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64" y="0"/>
                </a:moveTo>
                <a:lnTo>
                  <a:pt x="11385" y="4582"/>
                </a:lnTo>
                <a:lnTo>
                  <a:pt x="14002" y="4582"/>
                </a:lnTo>
                <a:lnTo>
                  <a:pt x="0" y="21600"/>
                </a:lnTo>
                <a:lnTo>
                  <a:pt x="10037" y="21600"/>
                </a:lnTo>
                <a:lnTo>
                  <a:pt x="19058" y="4582"/>
                </a:lnTo>
                <a:lnTo>
                  <a:pt x="21600" y="4582"/>
                </a:lnTo>
                <a:lnTo>
                  <a:pt x="1896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27" name="Shape 54790">
            <a:extLst>
              <a:ext uri="{FF2B5EF4-FFF2-40B4-BE49-F238E27FC236}">
                <a16:creationId xmlns="" xmlns:a16="http://schemas.microsoft.com/office/drawing/2014/main" id="{B9AD55EA-04FE-2442-9308-2C65282C2817}"/>
              </a:ext>
            </a:extLst>
          </p:cNvPr>
          <p:cNvSpPr/>
          <p:nvPr/>
        </p:nvSpPr>
        <p:spPr>
          <a:xfrm>
            <a:off x="6243542" y="6170846"/>
            <a:ext cx="1343745" cy="311041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28" name="Shape 54791">
            <a:extLst>
              <a:ext uri="{FF2B5EF4-FFF2-40B4-BE49-F238E27FC236}">
                <a16:creationId xmlns="" xmlns:a16="http://schemas.microsoft.com/office/drawing/2014/main" id="{90DC4AEC-928E-5041-BF17-10F509A0C2D7}"/>
              </a:ext>
            </a:extLst>
          </p:cNvPr>
          <p:cNvSpPr/>
          <p:nvPr/>
        </p:nvSpPr>
        <p:spPr>
          <a:xfrm>
            <a:off x="6243542" y="5027270"/>
            <a:ext cx="1343746" cy="1343746"/>
          </a:xfrm>
          <a:prstGeom prst="ellipse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100000">
                <a:schemeClr val="accent3"/>
              </a:gs>
            </a:gsLst>
            <a:lin ang="2700000" scaled="0"/>
          </a:gra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29" name="Shape 54795">
            <a:extLst>
              <a:ext uri="{FF2B5EF4-FFF2-40B4-BE49-F238E27FC236}">
                <a16:creationId xmlns="" xmlns:a16="http://schemas.microsoft.com/office/drawing/2014/main" id="{77B0BA2F-99D3-D54B-9E7A-CC977CE0B787}"/>
              </a:ext>
            </a:extLst>
          </p:cNvPr>
          <p:cNvSpPr/>
          <p:nvPr/>
        </p:nvSpPr>
        <p:spPr>
          <a:xfrm>
            <a:off x="7806238" y="5464704"/>
            <a:ext cx="982266" cy="227368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31" name="Shape 54796">
            <a:extLst>
              <a:ext uri="{FF2B5EF4-FFF2-40B4-BE49-F238E27FC236}">
                <a16:creationId xmlns="" xmlns:a16="http://schemas.microsoft.com/office/drawing/2014/main" id="{DB98E430-6F40-314D-AB40-6F559F171701}"/>
              </a:ext>
            </a:extLst>
          </p:cNvPr>
          <p:cNvSpPr/>
          <p:nvPr/>
        </p:nvSpPr>
        <p:spPr>
          <a:xfrm>
            <a:off x="7806238" y="4628757"/>
            <a:ext cx="982266" cy="982268"/>
          </a:xfrm>
          <a:prstGeom prst="ellipse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100000">
                <a:schemeClr val="accent3"/>
              </a:gs>
            </a:gsLst>
            <a:lin ang="2700000" scaled="0"/>
          </a:gra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32" name="Shape 54800">
            <a:extLst>
              <a:ext uri="{FF2B5EF4-FFF2-40B4-BE49-F238E27FC236}">
                <a16:creationId xmlns="" xmlns:a16="http://schemas.microsoft.com/office/drawing/2014/main" id="{3C269940-B97B-8942-9103-EEFE52A3D6D6}"/>
              </a:ext>
            </a:extLst>
          </p:cNvPr>
          <p:cNvSpPr/>
          <p:nvPr/>
        </p:nvSpPr>
        <p:spPr>
          <a:xfrm>
            <a:off x="9716041" y="4582022"/>
            <a:ext cx="535782" cy="12402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33" name="Shape 54801">
            <a:extLst>
              <a:ext uri="{FF2B5EF4-FFF2-40B4-BE49-F238E27FC236}">
                <a16:creationId xmlns="" xmlns:a16="http://schemas.microsoft.com/office/drawing/2014/main" id="{E88B5450-5A21-AB4B-84C1-098C5D3DF5A3}"/>
              </a:ext>
            </a:extLst>
          </p:cNvPr>
          <p:cNvSpPr/>
          <p:nvPr/>
        </p:nvSpPr>
        <p:spPr>
          <a:xfrm>
            <a:off x="9716041" y="4126051"/>
            <a:ext cx="535782" cy="535783"/>
          </a:xfrm>
          <a:prstGeom prst="ellipse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100000">
                <a:schemeClr val="accent3"/>
              </a:gs>
            </a:gsLst>
            <a:lin ang="2700000" scaled="0"/>
          </a:gra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36" name="Shape 54805">
            <a:extLst>
              <a:ext uri="{FF2B5EF4-FFF2-40B4-BE49-F238E27FC236}">
                <a16:creationId xmlns="" xmlns:a16="http://schemas.microsoft.com/office/drawing/2014/main" id="{F0CF68A2-0B74-1E4F-97A4-342A31F2BCBA}"/>
              </a:ext>
            </a:extLst>
          </p:cNvPr>
          <p:cNvSpPr/>
          <p:nvPr/>
        </p:nvSpPr>
        <p:spPr>
          <a:xfrm>
            <a:off x="8935844" y="4939356"/>
            <a:ext cx="714376" cy="165359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37" name="Shape 54806">
            <a:extLst>
              <a:ext uri="{FF2B5EF4-FFF2-40B4-BE49-F238E27FC236}">
                <a16:creationId xmlns="" xmlns:a16="http://schemas.microsoft.com/office/drawing/2014/main" id="{29069EE9-DFF3-2B43-AD26-177936120D48}"/>
              </a:ext>
            </a:extLst>
          </p:cNvPr>
          <p:cNvSpPr/>
          <p:nvPr/>
        </p:nvSpPr>
        <p:spPr>
          <a:xfrm>
            <a:off x="8935844" y="4331396"/>
            <a:ext cx="714376" cy="714376"/>
          </a:xfrm>
          <a:prstGeom prst="ellipse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100000">
                <a:schemeClr val="accent3"/>
              </a:gs>
            </a:gsLst>
            <a:lin ang="2700000" scaled="0"/>
          </a:gra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1B27D040-E959-6E44-A7AF-B6CF0F0DCC3E}"/>
              </a:ext>
            </a:extLst>
          </p:cNvPr>
          <p:cNvSpPr txBox="1"/>
          <p:nvPr/>
        </p:nvSpPr>
        <p:spPr>
          <a:xfrm>
            <a:off x="4552267" y="551151"/>
            <a:ext cx="2363147" cy="338554"/>
          </a:xfrm>
          <a:prstGeom prst="rect">
            <a:avLst/>
          </a:prstGeom>
          <a:noFill/>
          <a:ln>
            <a:noFill/>
          </a:ln>
        </p:spPr>
        <p:txBody>
          <a:bodyPr wrap="none" rtlCol="0" anchor="b">
            <a:spAutoFit/>
          </a:bodyPr>
          <a:lstStyle/>
          <a:p>
            <a:pPr algn="ctr"/>
            <a:r>
              <a:rPr lang="cs-CZ" sz="1600" b="1" spc="75" dirty="0">
                <a:solidFill>
                  <a:schemeClr val="accent3">
                    <a:lumMod val="75000"/>
                  </a:schemeClr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VNITŘNÍ PROSTŘEDÍ</a:t>
            </a:r>
            <a:endParaRPr lang="en-US" sz="1600" b="1" spc="75" dirty="0">
              <a:solidFill>
                <a:schemeClr val="accent3">
                  <a:lumMod val="75000"/>
                </a:schemeClr>
              </a:solidFill>
              <a:latin typeface="Nunito Sans SemiBold" pitchFamily="2" charset="77"/>
              <a:ea typeface="Source Sans Pro" panose="020B0503030403020204" pitchFamily="34" charset="0"/>
              <a:cs typeface="Lato Heavy" panose="020F0502020204030203" pitchFamily="34" charset="0"/>
            </a:endParaRPr>
          </a:p>
        </p:txBody>
      </p:sp>
      <p:sp>
        <p:nvSpPr>
          <p:cNvPr id="65" name="Subtitle 2">
            <a:extLst>
              <a:ext uri="{FF2B5EF4-FFF2-40B4-BE49-F238E27FC236}">
                <a16:creationId xmlns="" xmlns:a16="http://schemas.microsoft.com/office/drawing/2014/main" id="{AEA042AD-E5ED-924F-A625-110CAEF68E53}"/>
              </a:ext>
            </a:extLst>
          </p:cNvPr>
          <p:cNvSpPr txBox="1">
            <a:spLocks/>
          </p:cNvSpPr>
          <p:nvPr/>
        </p:nvSpPr>
        <p:spPr>
          <a:xfrm>
            <a:off x="4069621" y="640510"/>
            <a:ext cx="3489158" cy="1683538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 sz="1200" b="1" dirty="0"/>
          </a:p>
          <a:p>
            <a:pPr lvl="0"/>
            <a:r>
              <a:rPr lang="cs-CZ" sz="1200" dirty="0" smtClean="0"/>
              <a:t>etické </a:t>
            </a:r>
            <a:r>
              <a:rPr lang="cs-CZ" sz="1200" dirty="0"/>
              <a:t>hodnoty a kodex</a:t>
            </a:r>
          </a:p>
          <a:p>
            <a:pPr lvl="0"/>
            <a:r>
              <a:rPr lang="cs-CZ" sz="1200" dirty="0" smtClean="0"/>
              <a:t>organizační </a:t>
            </a:r>
            <a:r>
              <a:rPr lang="cs-CZ" sz="1200" dirty="0"/>
              <a:t>struktura</a:t>
            </a:r>
          </a:p>
          <a:p>
            <a:pPr lvl="0"/>
            <a:r>
              <a:rPr lang="cs-CZ" sz="1200" dirty="0" smtClean="0"/>
              <a:t>řízení </a:t>
            </a:r>
            <a:r>
              <a:rPr lang="cs-CZ" sz="1200" dirty="0"/>
              <a:t>lidských zdrojů </a:t>
            </a:r>
            <a:endParaRPr lang="cs-CZ" sz="1200" b="1" dirty="0"/>
          </a:p>
          <a:p>
            <a:pPr lvl="0"/>
            <a:r>
              <a:rPr lang="cs-CZ" sz="1600" b="1" dirty="0"/>
              <a:t>PRODUKT: analýza směrnic včetně doporučení </a:t>
            </a:r>
            <a:r>
              <a:rPr lang="cs-CZ" sz="1600" b="1"/>
              <a:t>na </a:t>
            </a:r>
            <a:r>
              <a:rPr lang="cs-CZ" sz="1600" b="1" smtClean="0"/>
              <a:t>změnu</a:t>
            </a:r>
            <a:endParaRPr lang="cs-CZ" sz="1200" b="1" dirty="0"/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A0ABDDBF-060F-C845-B0D6-0C63E0911FEB}"/>
              </a:ext>
            </a:extLst>
          </p:cNvPr>
          <p:cNvSpPr txBox="1"/>
          <p:nvPr/>
        </p:nvSpPr>
        <p:spPr>
          <a:xfrm>
            <a:off x="118683" y="2360109"/>
            <a:ext cx="3339376" cy="584775"/>
          </a:xfrm>
          <a:prstGeom prst="rect">
            <a:avLst/>
          </a:prstGeom>
          <a:noFill/>
          <a:ln>
            <a:noFill/>
          </a:ln>
        </p:spPr>
        <p:txBody>
          <a:bodyPr wrap="none" rtlCol="0" anchor="b">
            <a:spAutoFit/>
          </a:bodyPr>
          <a:lstStyle/>
          <a:p>
            <a:pPr lvl="0" algn="ctr"/>
            <a:r>
              <a:rPr lang="cs-CZ" sz="1600" b="1" spc="75" dirty="0">
                <a:solidFill>
                  <a:schemeClr val="accent3">
                    <a:lumMod val="75000"/>
                  </a:schemeClr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BEZPEČNOST OSOBNÍCH </a:t>
            </a:r>
          </a:p>
          <a:p>
            <a:pPr lvl="0" algn="ctr"/>
            <a:r>
              <a:rPr lang="cs-CZ" sz="1600" b="1" spc="75" dirty="0">
                <a:solidFill>
                  <a:schemeClr val="accent3">
                    <a:lumMod val="75000"/>
                  </a:schemeClr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ÚDAJŮ A AKTIV, ŘÍZENÍ RIZIK</a:t>
            </a:r>
          </a:p>
        </p:txBody>
      </p:sp>
      <p:sp>
        <p:nvSpPr>
          <p:cNvPr id="67" name="Subtitle 2">
            <a:extLst>
              <a:ext uri="{FF2B5EF4-FFF2-40B4-BE49-F238E27FC236}">
                <a16:creationId xmlns="" xmlns:a16="http://schemas.microsoft.com/office/drawing/2014/main" id="{AA89CC0A-6776-1642-B217-51D8C05DFDE4}"/>
              </a:ext>
            </a:extLst>
          </p:cNvPr>
          <p:cNvSpPr txBox="1">
            <a:spLocks/>
          </p:cNvSpPr>
          <p:nvPr/>
        </p:nvSpPr>
        <p:spPr>
          <a:xfrm>
            <a:off x="211825" y="2941591"/>
            <a:ext cx="2930157" cy="675057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cs-CZ" sz="1600" b="1" dirty="0"/>
              <a:t>PRODUKT: GDPR</a:t>
            </a:r>
          </a:p>
          <a:p>
            <a:pPr algn="r">
              <a:lnSpc>
                <a:spcPts val="2000"/>
              </a:lnSpc>
              <a:spcBef>
                <a:spcPts val="600"/>
              </a:spcBef>
            </a:pPr>
            <a:r>
              <a:rPr lang="en-US" sz="1200" dirty="0" smtClean="0">
                <a:solidFill>
                  <a:prstClr val="black"/>
                </a:solidFill>
                <a:latin typeface="Nunito Sans ExtraLight" pitchFamily="2" charset="77"/>
                <a:ea typeface="Noto Sans Light" panose="020B0402040504020204" pitchFamily="34" charset="0"/>
                <a:cs typeface="Noto Sans Light" panose="020B0402040504020204" pitchFamily="34" charset="0"/>
              </a:rPr>
              <a:t>.</a:t>
            </a:r>
            <a:endParaRPr lang="en-US" sz="1200" dirty="0">
              <a:solidFill>
                <a:prstClr val="black"/>
              </a:solidFill>
              <a:latin typeface="Nunito Sans ExtraLight" pitchFamily="2" charset="77"/>
              <a:ea typeface="Noto Sans Light" panose="020B0402040504020204" pitchFamily="34" charset="0"/>
              <a:cs typeface="Noto Sans Light" panose="020B0402040504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101DD7FF-C49B-AB40-A7E1-DBFAF600D7F0}"/>
              </a:ext>
            </a:extLst>
          </p:cNvPr>
          <p:cNvSpPr txBox="1"/>
          <p:nvPr/>
        </p:nvSpPr>
        <p:spPr>
          <a:xfrm>
            <a:off x="3141982" y="3287231"/>
            <a:ext cx="3538148" cy="584775"/>
          </a:xfrm>
          <a:prstGeom prst="rect">
            <a:avLst/>
          </a:prstGeom>
          <a:noFill/>
          <a:ln>
            <a:noFill/>
          </a:ln>
        </p:spPr>
        <p:txBody>
          <a:bodyPr wrap="none" rtlCol="0" anchor="b">
            <a:spAutoFit/>
          </a:bodyPr>
          <a:lstStyle/>
          <a:p>
            <a:pPr lvl="0" algn="ctr"/>
            <a:r>
              <a:rPr lang="cs-CZ" sz="1600" b="1" spc="75" dirty="0">
                <a:solidFill>
                  <a:schemeClr val="accent3">
                    <a:lumMod val="75000"/>
                  </a:schemeClr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INTEGRITA  a TOK INFORMACÍ, </a:t>
            </a:r>
            <a:endParaRPr lang="cs-CZ" sz="1600" b="1" spc="75" dirty="0" smtClean="0">
              <a:solidFill>
                <a:schemeClr val="accent3">
                  <a:lumMod val="75000"/>
                </a:schemeClr>
              </a:solidFill>
              <a:latin typeface="Nunito Sans SemiBold" pitchFamily="2" charset="77"/>
              <a:ea typeface="Source Sans Pro" panose="020B0503030403020204" pitchFamily="34" charset="0"/>
              <a:cs typeface="Lato Heavy" panose="020F0502020204030203" pitchFamily="34" charset="0"/>
            </a:endParaRPr>
          </a:p>
          <a:p>
            <a:pPr lvl="0" algn="ctr"/>
            <a:r>
              <a:rPr lang="cs-CZ" sz="1600" b="1" spc="75" dirty="0" smtClean="0">
                <a:solidFill>
                  <a:schemeClr val="accent3">
                    <a:lumMod val="75000"/>
                  </a:schemeClr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DIGITALIZACE </a:t>
            </a:r>
            <a:r>
              <a:rPr lang="cs-CZ" sz="1600" b="1" spc="75" dirty="0">
                <a:solidFill>
                  <a:schemeClr val="accent3">
                    <a:lumMod val="75000"/>
                  </a:schemeClr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PROCESŮ</a:t>
            </a:r>
          </a:p>
        </p:txBody>
      </p:sp>
      <p:sp>
        <p:nvSpPr>
          <p:cNvPr id="69" name="Subtitle 2">
            <a:extLst>
              <a:ext uri="{FF2B5EF4-FFF2-40B4-BE49-F238E27FC236}">
                <a16:creationId xmlns="" xmlns:a16="http://schemas.microsoft.com/office/drawing/2014/main" id="{7D9F3953-7349-EE4D-A289-D63D7A5E88FC}"/>
              </a:ext>
            </a:extLst>
          </p:cNvPr>
          <p:cNvSpPr txBox="1">
            <a:spLocks/>
          </p:cNvSpPr>
          <p:nvPr/>
        </p:nvSpPr>
        <p:spPr>
          <a:xfrm>
            <a:off x="3472580" y="3845112"/>
            <a:ext cx="2930157" cy="1129540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cs-CZ" sz="1200" dirty="0" smtClean="0"/>
              <a:t>zajištěny </a:t>
            </a:r>
            <a:r>
              <a:rPr lang="cs-CZ" sz="1200" dirty="0"/>
              <a:t>úplné, správné a kvalitních informace, které organizace generuje </a:t>
            </a:r>
          </a:p>
          <a:p>
            <a:pPr lvl="0"/>
            <a:r>
              <a:rPr lang="cs-CZ" sz="1600" b="1" dirty="0"/>
              <a:t>PRODUKT: SW Croseus, Ema +, SW Geovap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EE03B358-D8A3-A34C-A0C9-CC89BD0D1297}"/>
              </a:ext>
            </a:extLst>
          </p:cNvPr>
          <p:cNvSpPr txBox="1"/>
          <p:nvPr/>
        </p:nvSpPr>
        <p:spPr>
          <a:xfrm>
            <a:off x="551203" y="4897374"/>
            <a:ext cx="2626040" cy="338554"/>
          </a:xfrm>
          <a:prstGeom prst="rect">
            <a:avLst/>
          </a:prstGeom>
          <a:noFill/>
          <a:ln>
            <a:noFill/>
          </a:ln>
        </p:spPr>
        <p:txBody>
          <a:bodyPr wrap="none" rtlCol="0" anchor="b">
            <a:spAutoFit/>
          </a:bodyPr>
          <a:lstStyle/>
          <a:p>
            <a:pPr lvl="0"/>
            <a:r>
              <a:rPr lang="cs-CZ" sz="1600" b="1" spc="75" dirty="0">
                <a:solidFill>
                  <a:schemeClr val="accent3">
                    <a:lumMod val="75000"/>
                  </a:schemeClr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SOULAD/COMPLIANCE</a:t>
            </a:r>
            <a:r>
              <a:rPr lang="cs-CZ" sz="1600" b="1" dirty="0"/>
              <a:t> 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="" xmlns:a16="http://schemas.microsoft.com/office/drawing/2014/main" id="{73074DDB-22D7-A747-B444-517583A9DDFF}"/>
              </a:ext>
            </a:extLst>
          </p:cNvPr>
          <p:cNvSpPr txBox="1">
            <a:spLocks/>
          </p:cNvSpPr>
          <p:nvPr/>
        </p:nvSpPr>
        <p:spPr>
          <a:xfrm>
            <a:off x="397678" y="5252151"/>
            <a:ext cx="2930157" cy="1980029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cs-CZ" sz="1200" dirty="0" smtClean="0"/>
              <a:t>dodržení </a:t>
            </a:r>
            <a:r>
              <a:rPr lang="cs-CZ" sz="1200" dirty="0"/>
              <a:t>souladu činnosti a procesů probíhajících v organizaci s vnitřní a vnější legislativou </a:t>
            </a:r>
            <a:r>
              <a:rPr lang="cs-CZ" sz="1200" b="1" dirty="0"/>
              <a:t> </a:t>
            </a:r>
          </a:p>
          <a:p>
            <a:pPr lvl="0"/>
            <a:r>
              <a:rPr lang="cs-CZ" sz="1600" b="1" dirty="0"/>
              <a:t>PRODUKT = </a:t>
            </a:r>
            <a:r>
              <a:rPr lang="cs-CZ" sz="1600" b="1" dirty="0" smtClean="0"/>
              <a:t>SEBEHODNOTÍCÍ DOTAZNÍK VYZRÁLOSTI VŘKS</a:t>
            </a:r>
            <a:endParaRPr lang="cs-CZ" sz="1600" dirty="0"/>
          </a:p>
          <a:p>
            <a:pPr algn="r">
              <a:lnSpc>
                <a:spcPts val="2000"/>
              </a:lnSpc>
              <a:spcBef>
                <a:spcPts val="600"/>
              </a:spcBef>
            </a:pPr>
            <a:r>
              <a:rPr lang="en-US" sz="1200" dirty="0" smtClean="0">
                <a:solidFill>
                  <a:prstClr val="black"/>
                </a:solidFill>
                <a:latin typeface="Nunito Sans ExtraLight" pitchFamily="2" charset="77"/>
                <a:ea typeface="Noto Sans Light" panose="020B0402040504020204" pitchFamily="34" charset="0"/>
                <a:cs typeface="Noto Sans Light" panose="020B0402040504020204" pitchFamily="34" charset="0"/>
              </a:rPr>
              <a:t>.</a:t>
            </a:r>
            <a:endParaRPr lang="en-US" sz="1200" dirty="0">
              <a:solidFill>
                <a:prstClr val="black"/>
              </a:solidFill>
              <a:latin typeface="Nunito Sans ExtraLight" pitchFamily="2" charset="77"/>
              <a:ea typeface="Noto Sans Light" panose="020B0402040504020204" pitchFamily="34" charset="0"/>
              <a:cs typeface="Noto Sans Light" panose="020B0402040504020204" pitchFamily="34" charset="0"/>
            </a:endParaRPr>
          </a:p>
        </p:txBody>
      </p:sp>
      <p:pic>
        <p:nvPicPr>
          <p:cNvPr id="3" name="Grafický objekt 2" descr="3D brýle">
            <a:extLst>
              <a:ext uri="{FF2B5EF4-FFF2-40B4-BE49-F238E27FC236}">
                <a16:creationId xmlns="" xmlns:a16="http://schemas.microsoft.com/office/drawing/2014/main" id="{112B2444-CA90-A247-9BCB-39F93A2C0A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60958" y="5256446"/>
            <a:ext cx="914400" cy="914400"/>
          </a:xfrm>
          <a:prstGeom prst="rect">
            <a:avLst/>
          </a:prstGeom>
        </p:spPr>
      </p:pic>
      <p:pic>
        <p:nvPicPr>
          <p:cNvPr id="5" name="Grafický objekt 4" descr="Brainstorming">
            <a:extLst>
              <a:ext uri="{FF2B5EF4-FFF2-40B4-BE49-F238E27FC236}">
                <a16:creationId xmlns="" xmlns:a16="http://schemas.microsoft.com/office/drawing/2014/main" id="{538E3A5D-4679-7A40-B1C0-1323639613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09212" y="4227364"/>
            <a:ext cx="349440" cy="349440"/>
          </a:xfrm>
          <a:prstGeom prst="rect">
            <a:avLst/>
          </a:prstGeom>
        </p:spPr>
      </p:pic>
      <p:pic>
        <p:nvPicPr>
          <p:cNvPr id="7" name="Grafický objekt 6" descr="Na zdraví">
            <a:extLst>
              <a:ext uri="{FF2B5EF4-FFF2-40B4-BE49-F238E27FC236}">
                <a16:creationId xmlns="" xmlns:a16="http://schemas.microsoft.com/office/drawing/2014/main" id="{1E0F4869-920A-B043-988C-951116747D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40623" y="4453027"/>
            <a:ext cx="498449" cy="498449"/>
          </a:xfrm>
          <a:prstGeom prst="rect">
            <a:avLst/>
          </a:prstGeom>
        </p:spPr>
      </p:pic>
      <p:pic>
        <p:nvPicPr>
          <p:cNvPr id="9" name="Grafický objekt 8" descr="Vynikající">
            <a:extLst>
              <a:ext uri="{FF2B5EF4-FFF2-40B4-BE49-F238E27FC236}">
                <a16:creationId xmlns="" xmlns:a16="http://schemas.microsoft.com/office/drawing/2014/main" id="{C3C3E87C-F329-F448-A5BB-0729BC2588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92612" y="4707320"/>
            <a:ext cx="809517" cy="809517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81448" y="3614087"/>
            <a:ext cx="428858" cy="428858"/>
          </a:xfrm>
          <a:prstGeom prst="rect">
            <a:avLst/>
          </a:prstGeom>
        </p:spPr>
      </p:pic>
      <p:sp>
        <p:nvSpPr>
          <p:cNvPr id="34" name="Shape 54783">
            <a:extLst>
              <a:ext uri="{FF2B5EF4-FFF2-40B4-BE49-F238E27FC236}">
                <a16:creationId xmlns="" xmlns:a16="http://schemas.microsoft.com/office/drawing/2014/main" id="{F0C6C2FB-F383-664E-AFA7-C623BD653932}"/>
              </a:ext>
            </a:extLst>
          </p:cNvPr>
          <p:cNvSpPr/>
          <p:nvPr/>
        </p:nvSpPr>
        <p:spPr>
          <a:xfrm>
            <a:off x="9591032" y="570659"/>
            <a:ext cx="818885" cy="31888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0"/>
                </a:lnTo>
                <a:lnTo>
                  <a:pt x="0" y="0"/>
                </a:lnTo>
              </a:path>
            </a:pathLst>
          </a:custGeom>
          <a:noFill/>
          <a:ln w="38100" cap="flat">
            <a:solidFill>
              <a:schemeClr val="bg1">
                <a:lumMod val="85000"/>
              </a:schemeClr>
            </a:solidFill>
            <a:prstDash val="solid"/>
            <a:miter lim="400000"/>
          </a:ln>
          <a:effectLst/>
        </p:spPr>
        <p:txBody>
          <a:bodyPr wrap="square" lIns="35719" tIns="35719" rIns="35719" bIns="35719" numCol="1" anchor="ctr">
            <a:noAutofit/>
          </a:bodyPr>
          <a:lstStyle/>
          <a:p>
            <a:endParaRPr sz="2532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7422590" y="594844"/>
            <a:ext cx="2327244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87636">
              <a:lnSpc>
                <a:spcPct val="120000"/>
              </a:lnSpc>
              <a:spcBef>
                <a:spcPct val="20000"/>
              </a:spcBef>
            </a:pPr>
            <a:r>
              <a:rPr lang="cs-CZ" sz="1200" dirty="0">
                <a:solidFill>
                  <a:schemeClr val="tx2"/>
                </a:solidFill>
                <a:latin typeface="Open Sans Light"/>
                <a:cs typeface="Open Sans Light"/>
              </a:rPr>
              <a:t>ZAVEDENY, UPLATŇOVÁNY A RESPEKTOVÁNY všechny  prvky a principy VŘKS</a:t>
            </a:r>
          </a:p>
          <a:p>
            <a:endParaRPr lang="cs-CZ" dirty="0"/>
          </a:p>
        </p:txBody>
      </p:sp>
      <p:sp>
        <p:nvSpPr>
          <p:cNvPr id="35" name="TextBox 63">
            <a:extLst>
              <a:ext uri="{FF2B5EF4-FFF2-40B4-BE49-F238E27FC236}">
                <a16:creationId xmlns="" xmlns:a16="http://schemas.microsoft.com/office/drawing/2014/main" id="{1B27D040-E959-6E44-A7AF-B6CF0F0DCC3E}"/>
              </a:ext>
            </a:extLst>
          </p:cNvPr>
          <p:cNvSpPr txBox="1"/>
          <p:nvPr/>
        </p:nvSpPr>
        <p:spPr>
          <a:xfrm>
            <a:off x="7712643" y="236553"/>
            <a:ext cx="1645002" cy="338554"/>
          </a:xfrm>
          <a:prstGeom prst="rect">
            <a:avLst/>
          </a:prstGeom>
          <a:noFill/>
          <a:ln>
            <a:noFill/>
          </a:ln>
        </p:spPr>
        <p:txBody>
          <a:bodyPr wrap="none" rtlCol="0" anchor="b">
            <a:spAutoFit/>
          </a:bodyPr>
          <a:lstStyle/>
          <a:p>
            <a:pPr algn="ctr"/>
            <a:r>
              <a:rPr lang="cs-CZ" sz="1600" b="1" spc="75" dirty="0" smtClean="0">
                <a:solidFill>
                  <a:schemeClr val="accent3">
                    <a:lumMod val="75000"/>
                  </a:schemeClr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MONITORING</a:t>
            </a:r>
            <a:endParaRPr lang="en-US" sz="1600" b="1" spc="75" dirty="0">
              <a:solidFill>
                <a:schemeClr val="accent3">
                  <a:lumMod val="75000"/>
                </a:schemeClr>
              </a:solidFill>
              <a:latin typeface="Nunito Sans SemiBold" pitchFamily="2" charset="77"/>
              <a:ea typeface="Source Sans Pro" panose="020B0503030403020204" pitchFamily="34" charset="0"/>
              <a:cs typeface="Lato Heavy" panose="020F0502020204030203" pitchFamily="34" charset="0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10360737" y="1246830"/>
            <a:ext cx="193903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600" b="1" spc="75" dirty="0">
                <a:solidFill>
                  <a:srgbClr val="005587"/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DOSAŽENÍ STRATEGICKÝCH CÍLŮ ORGANIZACE</a:t>
            </a:r>
          </a:p>
        </p:txBody>
      </p:sp>
      <p:sp>
        <p:nvSpPr>
          <p:cNvPr id="42" name="Donut 30">
            <a:extLst>
              <a:ext uri="{FF2B5EF4-FFF2-40B4-BE49-F238E27FC236}">
                <a16:creationId xmlns="" xmlns:a16="http://schemas.microsoft.com/office/drawing/2014/main" id="{7F8A5E84-D80A-8444-B054-162A62BB912B}"/>
              </a:ext>
            </a:extLst>
          </p:cNvPr>
          <p:cNvSpPr/>
          <p:nvPr/>
        </p:nvSpPr>
        <p:spPr>
          <a:xfrm>
            <a:off x="9530436" y="4494762"/>
            <a:ext cx="3766490" cy="3766490"/>
          </a:xfrm>
          <a:prstGeom prst="donut">
            <a:avLst>
              <a:gd name="adj" fmla="val 3650"/>
            </a:avLst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33789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5" name="Zástupný symbol pro obsah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0229"/>
            <a:ext cx="12192000" cy="6891635"/>
          </a:xfrm>
        </p:spPr>
      </p:pic>
      <p:sp>
        <p:nvSpPr>
          <p:cNvPr id="6" name="TextovéPole 5"/>
          <p:cNvSpPr txBox="1"/>
          <p:nvPr/>
        </p:nvSpPr>
        <p:spPr>
          <a:xfrm>
            <a:off x="6096000" y="365125"/>
            <a:ext cx="34801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2"/>
                </a:solidFill>
              </a:rPr>
              <a:t>K růstu vyspělosti organizace a neustálému zvyšování kvality poskytované veřejné služby</a:t>
            </a:r>
          </a:p>
          <a:p>
            <a:endParaRPr lang="cs-CZ" dirty="0"/>
          </a:p>
        </p:txBody>
      </p:sp>
      <p:sp>
        <p:nvSpPr>
          <p:cNvPr id="8" name="TextovéPole 7"/>
          <p:cNvSpPr txBox="1"/>
          <p:nvPr/>
        </p:nvSpPr>
        <p:spPr>
          <a:xfrm>
            <a:off x="3814548" y="751716"/>
            <a:ext cx="24020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2"/>
                </a:solidFill>
              </a:rPr>
              <a:t>Ke klidnému spaní, možnosti vyvinění se</a:t>
            </a:r>
          </a:p>
          <a:p>
            <a:endParaRPr lang="cs-CZ" dirty="0">
              <a:solidFill>
                <a:schemeClr val="bg2"/>
              </a:solidFill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2367886" y="1808854"/>
            <a:ext cx="26476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2"/>
                </a:solidFill>
              </a:rPr>
              <a:t>K řádnému plnění strategických cílů</a:t>
            </a:r>
          </a:p>
          <a:p>
            <a:endParaRPr lang="cs-CZ" dirty="0">
              <a:solidFill>
                <a:schemeClr val="bg2"/>
              </a:solidFill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1057701" y="3103632"/>
            <a:ext cx="32549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cs-CZ" b="1" dirty="0">
                <a:solidFill>
                  <a:schemeClr val="bg2"/>
                </a:solidFill>
              </a:rPr>
              <a:t>K ujištění, že </a:t>
            </a:r>
            <a:r>
              <a:rPr lang="cs-CZ" b="1" dirty="0" smtClean="0">
                <a:solidFill>
                  <a:schemeClr val="bg2"/>
                </a:solidFill>
              </a:rPr>
              <a:t>vnitřní prostředí </a:t>
            </a:r>
            <a:r>
              <a:rPr lang="cs-CZ" b="1" dirty="0">
                <a:solidFill>
                  <a:schemeClr val="bg2"/>
                </a:solidFill>
              </a:rPr>
              <a:t>v organizaci je funkční a </a:t>
            </a:r>
            <a:r>
              <a:rPr lang="cs-CZ" b="1" dirty="0" smtClean="0">
                <a:solidFill>
                  <a:schemeClr val="bg2"/>
                </a:solidFill>
              </a:rPr>
              <a:t>udržitelné, </a:t>
            </a:r>
            <a:r>
              <a:rPr lang="cs-CZ" b="1" dirty="0">
                <a:solidFill>
                  <a:schemeClr val="bg2"/>
                </a:solidFill>
              </a:rPr>
              <a:t>tedy v souladu se zákony a normami zřizovatele</a:t>
            </a:r>
          </a:p>
          <a:p>
            <a:pPr lvl="0"/>
            <a:r>
              <a:rPr lang="cs-CZ" b="1" dirty="0">
                <a:solidFill>
                  <a:schemeClr val="bg2"/>
                </a:solidFill>
              </a:rPr>
              <a:t>K ujištění, že statutární zástupce dostává relevantní a srovnatelné informace, ke kterým má snadný přístup online</a:t>
            </a:r>
          </a:p>
          <a:p>
            <a:endParaRPr lang="cs-CZ" dirty="0"/>
          </a:p>
        </p:txBody>
      </p:sp>
      <p:cxnSp>
        <p:nvCxnSpPr>
          <p:cNvPr id="14" name="Zakřivená spojnice 13"/>
          <p:cNvCxnSpPr/>
          <p:nvPr/>
        </p:nvCxnSpPr>
        <p:spPr>
          <a:xfrm flipV="1">
            <a:off x="324766" y="736074"/>
            <a:ext cx="6001083" cy="5454864"/>
          </a:xfrm>
          <a:prstGeom prst="curvedConnector3">
            <a:avLst/>
          </a:prstGeom>
          <a:ln w="63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ovéPole 2"/>
          <p:cNvSpPr txBox="1"/>
          <p:nvPr/>
        </p:nvSpPr>
        <p:spPr>
          <a:xfrm>
            <a:off x="324766" y="365125"/>
            <a:ext cx="306389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dirty="0" smtClean="0">
                <a:solidFill>
                  <a:schemeClr val="bg1"/>
                </a:solidFill>
              </a:rPr>
              <a:t>K ČEMU SMĚŘUJEME</a:t>
            </a:r>
            <a:endParaRPr lang="cs-CZ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7480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25">
            <a:extLst>
              <a:ext uri="{FF2B5EF4-FFF2-40B4-BE49-F238E27FC236}">
                <a16:creationId xmlns="" xmlns:a16="http://schemas.microsoft.com/office/drawing/2014/main" id="{DB7C93E0-485F-C640-B549-8B0486B3E7AE}"/>
              </a:ext>
            </a:extLst>
          </p:cNvPr>
          <p:cNvSpPr txBox="1"/>
          <p:nvPr/>
        </p:nvSpPr>
        <p:spPr>
          <a:xfrm>
            <a:off x="838198" y="5042457"/>
            <a:ext cx="58221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tx1">
                    <a:lumMod val="20000"/>
                    <a:lumOff val="80000"/>
                  </a:schemeClr>
                </a:solidFill>
                <a:latin typeface="Nunito Sans" pitchFamily="2" charset="77"/>
              </a:rPr>
              <a:t>5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="" xmlns:a16="http://schemas.microsoft.com/office/drawing/2014/main" id="{BB088EB3-C0B4-E340-B620-35B1D6F979C1}"/>
              </a:ext>
            </a:extLst>
          </p:cNvPr>
          <p:cNvSpPr txBox="1"/>
          <p:nvPr/>
        </p:nvSpPr>
        <p:spPr>
          <a:xfrm>
            <a:off x="838198" y="4188418"/>
            <a:ext cx="58221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tx1">
                    <a:lumMod val="20000"/>
                    <a:lumOff val="80000"/>
                  </a:schemeClr>
                </a:solidFill>
                <a:latin typeface="Nunito Sans" pitchFamily="2" charset="77"/>
              </a:rPr>
              <a:t>4</a:t>
            </a:r>
          </a:p>
        </p:txBody>
      </p:sp>
      <p:sp>
        <p:nvSpPr>
          <p:cNvPr id="6" name="TextBox 15">
            <a:extLst>
              <a:ext uri="{FF2B5EF4-FFF2-40B4-BE49-F238E27FC236}">
                <a16:creationId xmlns="" xmlns:a16="http://schemas.microsoft.com/office/drawing/2014/main" id="{FEE9A752-C350-864C-8EF8-C99A16D6DAEB}"/>
              </a:ext>
            </a:extLst>
          </p:cNvPr>
          <p:cNvSpPr txBox="1"/>
          <p:nvPr/>
        </p:nvSpPr>
        <p:spPr>
          <a:xfrm>
            <a:off x="838198" y="1579619"/>
            <a:ext cx="58221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tx1">
                    <a:lumMod val="20000"/>
                    <a:lumOff val="80000"/>
                  </a:schemeClr>
                </a:solidFill>
                <a:latin typeface="Nunito Sans" pitchFamily="2" charset="77"/>
              </a:rPr>
              <a:t>1</a:t>
            </a:r>
          </a:p>
        </p:txBody>
      </p:sp>
      <p:sp>
        <p:nvSpPr>
          <p:cNvPr id="9" name="TextBox 22">
            <a:extLst>
              <a:ext uri="{FF2B5EF4-FFF2-40B4-BE49-F238E27FC236}">
                <a16:creationId xmlns="" xmlns:a16="http://schemas.microsoft.com/office/drawing/2014/main" id="{125A02CE-10F2-6D43-838D-105E32D9F7B6}"/>
              </a:ext>
            </a:extLst>
          </p:cNvPr>
          <p:cNvSpPr txBox="1"/>
          <p:nvPr/>
        </p:nvSpPr>
        <p:spPr>
          <a:xfrm>
            <a:off x="856125" y="2412954"/>
            <a:ext cx="58221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tx1">
                    <a:lumMod val="20000"/>
                    <a:lumOff val="80000"/>
                  </a:schemeClr>
                </a:solidFill>
                <a:latin typeface="Nunito Sans" pitchFamily="2" charset="77"/>
              </a:rPr>
              <a:t>2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="" xmlns:a16="http://schemas.microsoft.com/office/drawing/2014/main" id="{8DB9DC68-CDDA-704A-B614-CE2A26B17B28}"/>
              </a:ext>
            </a:extLst>
          </p:cNvPr>
          <p:cNvSpPr txBox="1"/>
          <p:nvPr/>
        </p:nvSpPr>
        <p:spPr>
          <a:xfrm>
            <a:off x="856125" y="3278276"/>
            <a:ext cx="58221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chemeClr val="tx1">
                    <a:lumMod val="20000"/>
                    <a:lumOff val="80000"/>
                  </a:schemeClr>
                </a:solidFill>
                <a:latin typeface="Nunito Sans" pitchFamily="2" charset="77"/>
              </a:rPr>
              <a:t>3</a:t>
            </a:r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7020" y="4239755"/>
            <a:ext cx="4212336" cy="2804160"/>
          </a:xfrm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spc="150" dirty="0" smtClean="0">
                <a:solidFill>
                  <a:schemeClr val="accent1">
                    <a:lumMod val="75000"/>
                  </a:schemeClr>
                </a:solidFill>
                <a:latin typeface="Nunito Sans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ČEHO CHCEME DOSÁHNOUT</a:t>
            </a:r>
            <a:endParaRPr lang="cs-CZ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Obdélník 4"/>
          <p:cNvSpPr/>
          <p:nvPr/>
        </p:nvSpPr>
        <p:spPr>
          <a:xfrm>
            <a:off x="856125" y="2670356"/>
            <a:ext cx="58977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spc="75" dirty="0">
                <a:solidFill>
                  <a:srgbClr val="53565A"/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INDIVIDUÁLNÍ</a:t>
            </a:r>
            <a:r>
              <a:rPr lang="en-US" b="1" spc="75" dirty="0">
                <a:solidFill>
                  <a:srgbClr val="53565A"/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 PŘÍSTUP, KOMPEXNOST ŘEŠENÍ</a:t>
            </a:r>
          </a:p>
        </p:txBody>
      </p:sp>
      <p:sp>
        <p:nvSpPr>
          <p:cNvPr id="7" name="TextBox 23">
            <a:extLst>
              <a:ext uri="{FF2B5EF4-FFF2-40B4-BE49-F238E27FC236}">
                <a16:creationId xmlns="" xmlns:a16="http://schemas.microsoft.com/office/drawing/2014/main" id="{DCFC9B04-F2E3-2049-8D5C-3DF49D690FA9}"/>
              </a:ext>
            </a:extLst>
          </p:cNvPr>
          <p:cNvSpPr txBox="1"/>
          <p:nvPr/>
        </p:nvSpPr>
        <p:spPr>
          <a:xfrm>
            <a:off x="838198" y="1812319"/>
            <a:ext cx="2674130" cy="400110"/>
          </a:xfrm>
          <a:prstGeom prst="rect">
            <a:avLst/>
          </a:prstGeom>
          <a:noFill/>
          <a:ln>
            <a:noFill/>
          </a:ln>
        </p:spPr>
        <p:txBody>
          <a:bodyPr wrap="none" rtlCol="0" anchor="b">
            <a:spAutoFit/>
          </a:bodyPr>
          <a:lstStyle/>
          <a:p>
            <a:r>
              <a:rPr lang="en-US" sz="2000" b="1" spc="75" dirty="0">
                <a:solidFill>
                  <a:srgbClr val="53565A"/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PARTNER 1.VOLBY </a:t>
            </a:r>
          </a:p>
        </p:txBody>
      </p:sp>
      <p:sp>
        <p:nvSpPr>
          <p:cNvPr id="10" name="Obdélník 9"/>
          <p:cNvSpPr/>
          <p:nvPr/>
        </p:nvSpPr>
        <p:spPr>
          <a:xfrm>
            <a:off x="838198" y="3554318"/>
            <a:ext cx="82116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spc="75" dirty="0">
                <a:solidFill>
                  <a:srgbClr val="53565A"/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MAXIMALIZOVAT</a:t>
            </a:r>
            <a:r>
              <a:rPr lang="en-US" b="1" spc="75" dirty="0">
                <a:solidFill>
                  <a:srgbClr val="53565A"/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 EFEKT S MINIMÁLNÍMI NÁKLADY</a:t>
            </a:r>
          </a:p>
        </p:txBody>
      </p:sp>
      <p:sp>
        <p:nvSpPr>
          <p:cNvPr id="12" name="Obdélník 11"/>
          <p:cNvSpPr/>
          <p:nvPr/>
        </p:nvSpPr>
        <p:spPr>
          <a:xfrm>
            <a:off x="838198" y="4426984"/>
            <a:ext cx="80772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spc="75" dirty="0">
                <a:solidFill>
                  <a:srgbClr val="53565A"/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ZVYŠOVAT</a:t>
            </a:r>
            <a:r>
              <a:rPr lang="en-US" b="1" spc="75" dirty="0">
                <a:solidFill>
                  <a:srgbClr val="53565A"/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 A SJEDNOCOVAT STANDARDY KVALITY ŘÍZENÍ</a:t>
            </a:r>
          </a:p>
        </p:txBody>
      </p:sp>
      <p:sp>
        <p:nvSpPr>
          <p:cNvPr id="14" name="TextBox 28">
            <a:extLst>
              <a:ext uri="{FF2B5EF4-FFF2-40B4-BE49-F238E27FC236}">
                <a16:creationId xmlns="" xmlns:a16="http://schemas.microsoft.com/office/drawing/2014/main" id="{3ABC3809-87EF-A445-9233-C3C7ECF1C2D8}"/>
              </a:ext>
            </a:extLst>
          </p:cNvPr>
          <p:cNvSpPr txBox="1"/>
          <p:nvPr/>
        </p:nvSpPr>
        <p:spPr>
          <a:xfrm>
            <a:off x="838198" y="5242511"/>
            <a:ext cx="7835799" cy="400110"/>
          </a:xfrm>
          <a:prstGeom prst="rect">
            <a:avLst/>
          </a:prstGeom>
          <a:noFill/>
          <a:ln>
            <a:noFill/>
          </a:ln>
        </p:spPr>
        <p:txBody>
          <a:bodyPr wrap="none" rtlCol="0" anchor="b">
            <a:spAutoFit/>
          </a:bodyPr>
          <a:lstStyle/>
          <a:p>
            <a:r>
              <a:rPr lang="en-US" sz="2000" b="1" spc="75" dirty="0">
                <a:solidFill>
                  <a:srgbClr val="53565A"/>
                </a:solidFill>
                <a:latin typeface="Nunito Sans SemiBold" pitchFamily="2" charset="77"/>
                <a:ea typeface="Source Sans Pro" panose="020B0503030403020204" pitchFamily="34" charset="0"/>
                <a:cs typeface="Lato Heavy" panose="020F0502020204030203" pitchFamily="34" charset="0"/>
              </a:rPr>
              <a:t>SLEDOVAT A APLIKOVAT NOVÉ TRENDY VE VEŘEJNÉ SFÉŘE</a:t>
            </a:r>
          </a:p>
        </p:txBody>
      </p:sp>
      <p:sp>
        <p:nvSpPr>
          <p:cNvPr id="16" name="Donut 30">
            <a:extLst>
              <a:ext uri="{FF2B5EF4-FFF2-40B4-BE49-F238E27FC236}">
                <a16:creationId xmlns="" xmlns:a16="http://schemas.microsoft.com/office/drawing/2014/main" id="{7F8A5E84-D80A-8444-B054-162A62BB912B}"/>
              </a:ext>
            </a:extLst>
          </p:cNvPr>
          <p:cNvSpPr/>
          <p:nvPr/>
        </p:nvSpPr>
        <p:spPr>
          <a:xfrm>
            <a:off x="8832866" y="3491014"/>
            <a:ext cx="3766490" cy="3766490"/>
          </a:xfrm>
          <a:prstGeom prst="donut">
            <a:avLst>
              <a:gd name="adj" fmla="val 3650"/>
            </a:avLst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prstClr val="black"/>
              </a:solidFill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3168160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Custom 2">
      <a:dk1>
        <a:srgbClr val="2B60AD"/>
      </a:dk1>
      <a:lt1>
        <a:srgbClr val="FFFFFF"/>
      </a:lt1>
      <a:dk2>
        <a:srgbClr val="56AC47"/>
      </a:dk2>
      <a:lt2>
        <a:srgbClr val="F2F2F2"/>
      </a:lt2>
      <a:accent1>
        <a:srgbClr val="56AC47"/>
      </a:accent1>
      <a:accent2>
        <a:srgbClr val="A5D028"/>
      </a:accent2>
      <a:accent3>
        <a:srgbClr val="08CC78"/>
      </a:accent3>
      <a:accent4>
        <a:srgbClr val="F24099"/>
      </a:accent4>
      <a:accent5>
        <a:srgbClr val="828288"/>
      </a:accent5>
      <a:accent6>
        <a:srgbClr val="F56617"/>
      </a:accent6>
      <a:hlink>
        <a:srgbClr val="005DBA"/>
      </a:hlink>
      <a:folHlink>
        <a:srgbClr val="6C606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kKV-vysledky prace.potx" id="{08F40561-1A83-4A52-B29A-ACC11610F0E5}" vid="{888B8593-90C4-4245-BDB8-E5C8EB4E342E}"/>
    </a:ext>
  </a:extLst>
</a:theme>
</file>

<file path=ppt/theme/theme2.xml><?xml version="1.0" encoding="utf-8"?>
<a:theme xmlns:a="http://schemas.openxmlformats.org/drawingml/2006/main" name="1_DT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" id="{EB5959DE-A6A3-5B4C-9DC6-C33E79C42368}" vid="{67EF3498-68D6-E349-8BD4-51315D47CB7B}"/>
    </a:ext>
  </a:extLst>
</a:theme>
</file>

<file path=ppt/theme/theme3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0D41AA6ECFE8B46BC2C2350681E53B7" ma:contentTypeVersion="0" ma:contentTypeDescription="Vytvoří nový dokument" ma:contentTypeScope="" ma:versionID="5623a288b031e5f9855cee3414774d1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5030a4fb49af6ac1945304746faa32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61708D6-EEB8-47F9-A633-7737AA43DB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B6D2462-4020-46A9-8B9E-0A1A3F3753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E699552-C4B4-4415-B9CF-A96B31D07EEE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83</TotalTime>
  <Words>232</Words>
  <Application>Microsoft Office PowerPoint</Application>
  <PresentationFormat>Širokoúhlá obrazovka</PresentationFormat>
  <Paragraphs>50</Paragraphs>
  <Slides>5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15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23" baseType="lpstr">
      <vt:lpstr>Arial</vt:lpstr>
      <vt:lpstr>Calibri</vt:lpstr>
      <vt:lpstr>Calibri Light</vt:lpstr>
      <vt:lpstr>Lato Heavy</vt:lpstr>
      <vt:lpstr>Mukta</vt:lpstr>
      <vt:lpstr>Noto Sans ExtraLight</vt:lpstr>
      <vt:lpstr>Noto Sans Light</vt:lpstr>
      <vt:lpstr>Nunito Sans</vt:lpstr>
      <vt:lpstr>Nunito Sans ExtraLight</vt:lpstr>
      <vt:lpstr>Nunito Sans SemiBold</vt:lpstr>
      <vt:lpstr>Open Sans</vt:lpstr>
      <vt:lpstr>Open Sans Light</vt:lpstr>
      <vt:lpstr>Source Sans Pro</vt:lpstr>
      <vt:lpstr>Source Sans Pro Light</vt:lpstr>
      <vt:lpstr>Verdana</vt:lpstr>
      <vt:lpstr>Motiv Office</vt:lpstr>
      <vt:lpstr>1_DT</vt:lpstr>
      <vt:lpstr>think-cell Slide</vt:lpstr>
      <vt:lpstr>Prezentace aplikace PowerPoint</vt:lpstr>
      <vt:lpstr>PRODUKTY PKKV</vt:lpstr>
      <vt:lpstr>Prezentace aplikace PowerPoint</vt:lpstr>
      <vt:lpstr>Prezentace aplikace PowerPoint</vt:lpstr>
      <vt:lpstr>ČEHO CHCEME DOSÁHNOU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sledky práce  Projektové kanceláře  Kraje Vysočina, p. o. za období 1. 1. 2016 – 31. 3. 2017</dc:title>
  <dc:creator>Šteflová Erika, Ing.</dc:creator>
  <cp:lastModifiedBy>Šteflová Erika, Ing.</cp:lastModifiedBy>
  <cp:revision>219</cp:revision>
  <cp:lastPrinted>2020-10-14T11:02:02Z</cp:lastPrinted>
  <dcterms:created xsi:type="dcterms:W3CDTF">2017-04-05T11:35:09Z</dcterms:created>
  <dcterms:modified xsi:type="dcterms:W3CDTF">2020-11-11T05:2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D41AA6ECFE8B46BC2C2350681E53B7</vt:lpwstr>
  </property>
</Properties>
</file>